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2"/>
  </p:notesMasterIdLst>
  <p:sldIdLst>
    <p:sldId id="257" r:id="rId2"/>
    <p:sldId id="291" r:id="rId3"/>
    <p:sldId id="292" r:id="rId4"/>
    <p:sldId id="296" r:id="rId5"/>
    <p:sldId id="304" r:id="rId6"/>
    <p:sldId id="305" r:id="rId7"/>
    <p:sldId id="454" r:id="rId8"/>
    <p:sldId id="1348" r:id="rId9"/>
    <p:sldId id="946" r:id="rId10"/>
    <p:sldId id="982" r:id="rId11"/>
    <p:sldId id="948" r:id="rId12"/>
    <p:sldId id="956" r:id="rId13"/>
    <p:sldId id="329" r:id="rId14"/>
    <p:sldId id="957" r:id="rId15"/>
    <p:sldId id="947" r:id="rId16"/>
    <p:sldId id="1349" r:id="rId17"/>
    <p:sldId id="962" r:id="rId18"/>
    <p:sldId id="961" r:id="rId19"/>
    <p:sldId id="1350" r:id="rId20"/>
    <p:sldId id="980" r:id="rId21"/>
    <p:sldId id="357" r:id="rId22"/>
    <p:sldId id="355" r:id="rId23"/>
    <p:sldId id="358" r:id="rId24"/>
    <p:sldId id="256" r:id="rId25"/>
    <p:sldId id="262" r:id="rId26"/>
    <p:sldId id="260" r:id="rId27"/>
    <p:sldId id="1351" r:id="rId28"/>
    <p:sldId id="263" r:id="rId29"/>
    <p:sldId id="259" r:id="rId30"/>
    <p:sldId id="289" r:id="rId3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9"/>
    <p:restoredTop sz="94604"/>
  </p:normalViewPr>
  <p:slideViewPr>
    <p:cSldViewPr snapToGrid="0" snapToObjects="1">
      <p:cViewPr varScale="1">
        <p:scale>
          <a:sx n="90" d="100"/>
          <a:sy n="90" d="100"/>
        </p:scale>
        <p:origin x="880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admin:Documents:Remera:Reports:Annual%20Report%202017-2018:HIV%20%20Care%20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9345387326961"/>
          <c:y val="4.2703308034330797E-2"/>
          <c:w val="0.85098331513716996"/>
          <c:h val="0.81844334405816199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Epidemic Control CURVE'!$B$4</c:f>
              <c:strCache>
                <c:ptCount val="1"/>
                <c:pt idx="0">
                  <c:v>Total Deaths to HIV Population</c:v>
                </c:pt>
              </c:strCache>
            </c:strRef>
          </c:tx>
          <c:spPr>
            <a:ln w="50800"/>
          </c:spPr>
          <c:marker>
            <c:symbol val="none"/>
          </c:marker>
          <c:xVal>
            <c:numRef>
              <c:f>'Epidemic Control CURVE'!$A$20:$A$55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'Epidemic Control CURVE'!$B$20:$B$55</c:f>
              <c:numCache>
                <c:formatCode>#,##0</c:formatCode>
                <c:ptCount val="36"/>
                <c:pt idx="0">
                  <c:v>6929</c:v>
                </c:pt>
                <c:pt idx="1">
                  <c:v>9062</c:v>
                </c:pt>
                <c:pt idx="2">
                  <c:v>11138</c:v>
                </c:pt>
                <c:pt idx="3">
                  <c:v>12652</c:v>
                </c:pt>
                <c:pt idx="4">
                  <c:v>13351</c:v>
                </c:pt>
                <c:pt idx="5">
                  <c:v>13850</c:v>
                </c:pt>
                <c:pt idx="6">
                  <c:v>14637</c:v>
                </c:pt>
                <c:pt idx="7">
                  <c:v>15801</c:v>
                </c:pt>
                <c:pt idx="8">
                  <c:v>17251</c:v>
                </c:pt>
                <c:pt idx="9">
                  <c:v>18701</c:v>
                </c:pt>
                <c:pt idx="10">
                  <c:v>19872</c:v>
                </c:pt>
                <c:pt idx="11">
                  <c:v>20521</c:v>
                </c:pt>
                <c:pt idx="12">
                  <c:v>20884</c:v>
                </c:pt>
                <c:pt idx="13">
                  <c:v>20975</c:v>
                </c:pt>
                <c:pt idx="14">
                  <c:v>20300</c:v>
                </c:pt>
                <c:pt idx="15">
                  <c:v>17102</c:v>
                </c:pt>
                <c:pt idx="16">
                  <c:v>13120</c:v>
                </c:pt>
                <c:pt idx="17">
                  <c:v>10555</c:v>
                </c:pt>
                <c:pt idx="18">
                  <c:v>9190</c:v>
                </c:pt>
                <c:pt idx="19">
                  <c:v>8055</c:v>
                </c:pt>
                <c:pt idx="20">
                  <c:v>7136</c:v>
                </c:pt>
                <c:pt idx="21">
                  <c:v>6344</c:v>
                </c:pt>
                <c:pt idx="22">
                  <c:v>5895</c:v>
                </c:pt>
                <c:pt idx="23">
                  <c:v>5467</c:v>
                </c:pt>
                <c:pt idx="24">
                  <c:v>5064</c:v>
                </c:pt>
                <c:pt idx="25">
                  <c:v>4767</c:v>
                </c:pt>
                <c:pt idx="26">
                  <c:v>4570</c:v>
                </c:pt>
                <c:pt idx="27">
                  <c:v>4491</c:v>
                </c:pt>
                <c:pt idx="28">
                  <c:v>4245</c:v>
                </c:pt>
                <c:pt idx="29">
                  <c:v>4207</c:v>
                </c:pt>
                <c:pt idx="30">
                  <c:v>4144</c:v>
                </c:pt>
                <c:pt idx="31">
                  <c:v>4133</c:v>
                </c:pt>
                <c:pt idx="32">
                  <c:v>4122</c:v>
                </c:pt>
                <c:pt idx="33">
                  <c:v>4128</c:v>
                </c:pt>
                <c:pt idx="34">
                  <c:v>4143</c:v>
                </c:pt>
                <c:pt idx="35">
                  <c:v>416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F37-4BDE-90CF-8AFA0C6C6882}"/>
            </c:ext>
          </c:extLst>
        </c:ser>
        <c:ser>
          <c:idx val="1"/>
          <c:order val="1"/>
          <c:tx>
            <c:strRef>
              <c:f>'Epidemic Control CURVE'!$C$4</c:f>
              <c:strCache>
                <c:ptCount val="1"/>
                <c:pt idx="0">
                  <c:v>New HIV Infections</c:v>
                </c:pt>
              </c:strCache>
            </c:strRef>
          </c:tx>
          <c:spPr>
            <a:ln w="50800"/>
          </c:spPr>
          <c:marker>
            <c:symbol val="none"/>
          </c:marker>
          <c:xVal>
            <c:numRef>
              <c:f>'Epidemic Control CURVE'!$A$20:$A$55</c:f>
              <c:numCache>
                <c:formatCode>General</c:formatCode>
                <c:ptCount val="36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</c:numCache>
            </c:numRef>
          </c:xVal>
          <c:yVal>
            <c:numRef>
              <c:f>'Epidemic Control CURVE'!$C$20:$C$55</c:f>
              <c:numCache>
                <c:formatCode>#,##0</c:formatCode>
                <c:ptCount val="36"/>
                <c:pt idx="0">
                  <c:v>31375</c:v>
                </c:pt>
                <c:pt idx="1">
                  <c:v>33949</c:v>
                </c:pt>
                <c:pt idx="2">
                  <c:v>32344</c:v>
                </c:pt>
                <c:pt idx="3">
                  <c:v>30295</c:v>
                </c:pt>
                <c:pt idx="4">
                  <c:v>26010</c:v>
                </c:pt>
                <c:pt idx="5">
                  <c:v>24390</c:v>
                </c:pt>
                <c:pt idx="6">
                  <c:v>24307</c:v>
                </c:pt>
                <c:pt idx="7">
                  <c:v>24119</c:v>
                </c:pt>
                <c:pt idx="8">
                  <c:v>23749</c:v>
                </c:pt>
                <c:pt idx="9">
                  <c:v>23003</c:v>
                </c:pt>
                <c:pt idx="10">
                  <c:v>21587</c:v>
                </c:pt>
                <c:pt idx="11">
                  <c:v>19488</c:v>
                </c:pt>
                <c:pt idx="12">
                  <c:v>17891</c:v>
                </c:pt>
                <c:pt idx="13">
                  <c:v>16693</c:v>
                </c:pt>
                <c:pt idx="14">
                  <c:v>15142</c:v>
                </c:pt>
                <c:pt idx="15">
                  <c:v>13697</c:v>
                </c:pt>
                <c:pt idx="16">
                  <c:v>11631</c:v>
                </c:pt>
                <c:pt idx="17">
                  <c:v>10836</c:v>
                </c:pt>
                <c:pt idx="18">
                  <c:v>10940</c:v>
                </c:pt>
                <c:pt idx="19">
                  <c:v>10394</c:v>
                </c:pt>
                <c:pt idx="20">
                  <c:v>9267</c:v>
                </c:pt>
                <c:pt idx="21">
                  <c:v>7916</c:v>
                </c:pt>
                <c:pt idx="22">
                  <c:v>7434</c:v>
                </c:pt>
                <c:pt idx="23">
                  <c:v>6584</c:v>
                </c:pt>
                <c:pt idx="24">
                  <c:v>5997</c:v>
                </c:pt>
                <c:pt idx="25">
                  <c:v>5405</c:v>
                </c:pt>
                <c:pt idx="26">
                  <c:v>5120</c:v>
                </c:pt>
                <c:pt idx="27">
                  <c:v>4823</c:v>
                </c:pt>
                <c:pt idx="28">
                  <c:v>4511</c:v>
                </c:pt>
                <c:pt idx="29">
                  <c:v>4409</c:v>
                </c:pt>
                <c:pt idx="30">
                  <c:v>4425</c:v>
                </c:pt>
                <c:pt idx="31">
                  <c:v>4396</c:v>
                </c:pt>
                <c:pt idx="32">
                  <c:v>4197</c:v>
                </c:pt>
                <c:pt idx="33">
                  <c:v>3984</c:v>
                </c:pt>
                <c:pt idx="34">
                  <c:v>3795</c:v>
                </c:pt>
                <c:pt idx="35">
                  <c:v>361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F37-4BDE-90CF-8AFA0C6C68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326093680"/>
        <c:axId val="-242462592"/>
      </c:scatterChart>
      <c:valAx>
        <c:axId val="-326093680"/>
        <c:scaling>
          <c:orientation val="minMax"/>
          <c:max val="2030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-242462592"/>
        <c:crosses val="autoZero"/>
        <c:crossBetween val="midCat"/>
      </c:valAx>
      <c:valAx>
        <c:axId val="-24246259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txPr>
          <a:bodyPr/>
          <a:lstStyle/>
          <a:p>
            <a:pPr>
              <a:defRPr sz="1600" b="1"/>
            </a:pPr>
            <a:endParaRPr lang="en-US"/>
          </a:p>
        </c:txPr>
        <c:crossAx val="-326093680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23824632096836901"/>
          <c:y val="0.95392799344838397"/>
          <c:w val="0.53897134006602498"/>
          <c:h val="4.6072006551616501E-2"/>
        </c:manualLayout>
      </c:layout>
      <c:overlay val="0"/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Sheet9!$C$2</c:f>
              <c:strCache>
                <c:ptCount val="1"/>
                <c:pt idx="0">
                  <c:v>People living with HIV  (PLHIV)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c:spPr>
          <c:cat>
            <c:numRef>
              <c:f>Sheet9!$B$3:$B$17</c:f>
              <c:numCache>
                <c:formatCode>General</c:formatCode>
                <c:ptCount val="1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</c:numCache>
            </c:numRef>
          </c:cat>
          <c:val>
            <c:numRef>
              <c:f>Sheet9!$C$3:$C$17</c:f>
              <c:numCache>
                <c:formatCode>General</c:formatCode>
                <c:ptCount val="15"/>
                <c:pt idx="0">
                  <c:v>211295</c:v>
                </c:pt>
                <c:pt idx="1">
                  <c:v>205979</c:v>
                </c:pt>
                <c:pt idx="2">
                  <c:v>202983</c:v>
                </c:pt>
                <c:pt idx="3">
                  <c:v>202262</c:v>
                </c:pt>
                <c:pt idx="4">
                  <c:v>203204</c:v>
                </c:pt>
                <c:pt idx="5">
                  <c:v>205076</c:v>
                </c:pt>
                <c:pt idx="6">
                  <c:v>206836</c:v>
                </c:pt>
                <c:pt idx="7">
                  <c:v>208762</c:v>
                </c:pt>
                <c:pt idx="8">
                  <c:v>211220</c:v>
                </c:pt>
                <c:pt idx="9">
                  <c:v>213769</c:v>
                </c:pt>
                <c:pt idx="10">
                  <c:v>216360</c:v>
                </c:pt>
                <c:pt idx="11">
                  <c:v>218934</c:v>
                </c:pt>
                <c:pt idx="12">
                  <c:v>221692</c:v>
                </c:pt>
                <c:pt idx="13">
                  <c:v>224663</c:v>
                </c:pt>
                <c:pt idx="14">
                  <c:v>2278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CF-4579-97ED-F03ACF4FDAA4}"/>
            </c:ext>
          </c:extLst>
        </c:ser>
        <c:ser>
          <c:idx val="1"/>
          <c:order val="1"/>
          <c:tx>
            <c:strRef>
              <c:f>Sheet9!$D$2</c:f>
              <c:strCache>
                <c:ptCount val="1"/>
                <c:pt idx="0">
                  <c:v>PLHIV on AR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000000"/>
              </a:solidFill>
            </a:ln>
          </c:spPr>
          <c:cat>
            <c:numRef>
              <c:f>Sheet9!$B$3:$B$17</c:f>
              <c:numCache>
                <c:formatCode>General</c:formatCode>
                <c:ptCount val="1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</c:numCache>
            </c:numRef>
          </c:cat>
          <c:val>
            <c:numRef>
              <c:f>Sheet9!$D$3:$D$17</c:f>
              <c:numCache>
                <c:formatCode>General</c:formatCode>
                <c:ptCount val="15"/>
                <c:pt idx="0">
                  <c:v>5749</c:v>
                </c:pt>
                <c:pt idx="1">
                  <c:v>18884</c:v>
                </c:pt>
                <c:pt idx="2">
                  <c:v>33486</c:v>
                </c:pt>
                <c:pt idx="3">
                  <c:v>45530</c:v>
                </c:pt>
                <c:pt idx="4">
                  <c:v>62921</c:v>
                </c:pt>
                <c:pt idx="5">
                  <c:v>76891</c:v>
                </c:pt>
                <c:pt idx="6">
                  <c:v>89283</c:v>
                </c:pt>
                <c:pt idx="7">
                  <c:v>99820</c:v>
                </c:pt>
                <c:pt idx="8">
                  <c:v>116031</c:v>
                </c:pt>
                <c:pt idx="9">
                  <c:v>129821</c:v>
                </c:pt>
                <c:pt idx="10">
                  <c:v>144316</c:v>
                </c:pt>
                <c:pt idx="11">
                  <c:v>159315</c:v>
                </c:pt>
                <c:pt idx="12">
                  <c:v>178502</c:v>
                </c:pt>
                <c:pt idx="13">
                  <c:v>185644</c:v>
                </c:pt>
                <c:pt idx="14" formatCode="_(* #,##0_);_(* \(#,##0\);_(* &quot;-&quot;_);_(@_)">
                  <c:v>189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CF-4579-97ED-F03ACF4FDA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46995400"/>
        <c:axId val="-2146992344"/>
      </c:areaChart>
      <c:areaChart>
        <c:grouping val="standard"/>
        <c:varyColors val="0"/>
        <c:ser>
          <c:idx val="2"/>
          <c:order val="2"/>
          <c:tx>
            <c:strRef>
              <c:f>Sheet9!$E$2</c:f>
              <c:strCache>
                <c:ptCount val="1"/>
                <c:pt idx="0">
                  <c:v>perc</c:v>
                </c:pt>
              </c:strCache>
            </c:strRef>
          </c:tx>
          <c:spPr>
            <a:noFill/>
            <a:ln w="25400">
              <a:noFill/>
            </a:ln>
          </c:spPr>
          <c:cat>
            <c:numRef>
              <c:f>Sheet9!$B$3:$B$17</c:f>
              <c:numCache>
                <c:formatCode>General</c:formatCode>
                <c:ptCount val="1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</c:numCache>
            </c:numRef>
          </c:cat>
          <c:val>
            <c:numRef>
              <c:f>Sheet9!$E$3:$E$17</c:f>
              <c:numCache>
                <c:formatCode>0.0%</c:formatCode>
                <c:ptCount val="15"/>
                <c:pt idx="0">
                  <c:v>2.72084053101114E-2</c:v>
                </c:pt>
                <c:pt idx="1">
                  <c:v>9.16792488554658E-2</c:v>
                </c:pt>
                <c:pt idx="2">
                  <c:v>0.16496948020277599</c:v>
                </c:pt>
                <c:pt idx="3">
                  <c:v>0.22510407293510401</c:v>
                </c:pt>
                <c:pt idx="4">
                  <c:v>0.30964449518710302</c:v>
                </c:pt>
                <c:pt idx="5">
                  <c:v>0.374939046987458</c:v>
                </c:pt>
                <c:pt idx="6">
                  <c:v>0.43166083273704797</c:v>
                </c:pt>
                <c:pt idx="7">
                  <c:v>0.47815215412766698</c:v>
                </c:pt>
                <c:pt idx="8">
                  <c:v>0.54933718397878994</c:v>
                </c:pt>
                <c:pt idx="9">
                  <c:v>0.60729572576004898</c:v>
                </c:pt>
                <c:pt idx="10">
                  <c:v>0.66701793307450497</c:v>
                </c:pt>
                <c:pt idx="11">
                  <c:v>0.72768505577023201</c:v>
                </c:pt>
                <c:pt idx="12">
                  <c:v>0.80518015986142899</c:v>
                </c:pt>
                <c:pt idx="13">
                  <c:v>0.82632209131009604</c:v>
                </c:pt>
                <c:pt idx="14">
                  <c:v>0.83091410116895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CF-4579-97ED-F03ACF4FDA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146986072"/>
        <c:axId val="-2146989080"/>
      </c:areaChart>
      <c:catAx>
        <c:axId val="-2146995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2146992344"/>
        <c:crosses val="autoZero"/>
        <c:auto val="1"/>
        <c:lblAlgn val="ctr"/>
        <c:lblOffset val="100"/>
        <c:noMultiLvlLbl val="0"/>
      </c:catAx>
      <c:valAx>
        <c:axId val="-214699234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-2146995400"/>
        <c:crosses val="autoZero"/>
        <c:crossBetween val="midCat"/>
      </c:valAx>
      <c:valAx>
        <c:axId val="-2146989080"/>
        <c:scaling>
          <c:orientation val="minMax"/>
        </c:scaling>
        <c:delete val="1"/>
        <c:axPos val="r"/>
        <c:numFmt formatCode="0.0%" sourceLinked="1"/>
        <c:majorTickMark val="out"/>
        <c:minorTickMark val="none"/>
        <c:tickLblPos val="nextTo"/>
        <c:crossAx val="-2146986072"/>
        <c:crosses val="max"/>
        <c:crossBetween val="midCat"/>
      </c:valAx>
      <c:catAx>
        <c:axId val="-21469860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2146989080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t"/>
      <c:legendEntry>
        <c:idx val="2"/>
        <c:delete val="1"/>
      </c:legendEntry>
      <c:overlay val="0"/>
      <c:spPr>
        <a:ln>
          <a:noFill/>
        </a:ln>
      </c:spPr>
      <c:txPr>
        <a:bodyPr/>
        <a:lstStyle/>
        <a:p>
          <a:pPr>
            <a:defRPr b="1">
              <a:latin typeface="Constantia"/>
              <a:cs typeface="Constantia"/>
            </a:defRPr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BC1A87-A342-4C04-81E0-CAB3123AEAE3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25E6FBD-5090-41B8-9940-AEDDAA7B531E}">
      <dgm:prSet phldrT="[Text]" custT="1"/>
      <dgm:spPr/>
      <dgm:t>
        <a:bodyPr/>
        <a:lstStyle/>
        <a:p>
          <a:r>
            <a:rPr lang="en-US" sz="3600" b="1" dirty="0">
              <a:solidFill>
                <a:srgbClr val="C00000"/>
              </a:solidFill>
            </a:rPr>
            <a:t>10.8%</a:t>
          </a:r>
        </a:p>
      </dgm:t>
    </dgm:pt>
    <dgm:pt modelId="{D03FB6FE-435A-40D7-A47F-EC646527D658}" type="parTrans" cxnId="{E0091D8C-E641-4A42-A268-39798D9ACF0B}">
      <dgm:prSet/>
      <dgm:spPr/>
      <dgm:t>
        <a:bodyPr/>
        <a:lstStyle/>
        <a:p>
          <a:endParaRPr lang="en-US"/>
        </a:p>
      </dgm:t>
    </dgm:pt>
    <dgm:pt modelId="{7EE9F414-9F0D-4B77-B8B8-D69B3596CC3A}" type="sibTrans" cxnId="{E0091D8C-E641-4A42-A268-39798D9ACF0B}">
      <dgm:prSet/>
      <dgm:spPr/>
      <dgm:t>
        <a:bodyPr/>
        <a:lstStyle/>
        <a:p>
          <a:endParaRPr lang="en-US"/>
        </a:p>
      </dgm:t>
    </dgm:pt>
    <dgm:pt modelId="{AA652361-6BAE-42A6-8179-F1C770739F97}">
      <dgm:prSet phldrT="[Text]"/>
      <dgm:spPr/>
      <dgm:t>
        <a:bodyPr/>
        <a:lstStyle/>
        <a:p>
          <a:r>
            <a:rPr lang="en-US" b="1" dirty="0">
              <a:solidFill>
                <a:schemeClr val="accent4">
                  <a:lumMod val="50000"/>
                </a:schemeClr>
              </a:solidFill>
            </a:rPr>
            <a:t>1.5%</a:t>
          </a:r>
        </a:p>
      </dgm:t>
    </dgm:pt>
    <dgm:pt modelId="{91A937DD-CCE7-4E2B-BD7B-641F1141E3A9}" type="parTrans" cxnId="{F6CFAC0E-E50B-450C-B79D-8E8B93415C84}">
      <dgm:prSet/>
      <dgm:spPr/>
      <dgm:t>
        <a:bodyPr/>
        <a:lstStyle/>
        <a:p>
          <a:endParaRPr lang="en-US"/>
        </a:p>
      </dgm:t>
    </dgm:pt>
    <dgm:pt modelId="{349A4060-D61D-48CE-ABC2-FEC2D1EF8C9B}" type="sibTrans" cxnId="{F6CFAC0E-E50B-450C-B79D-8E8B93415C84}">
      <dgm:prSet/>
      <dgm:spPr/>
      <dgm:t>
        <a:bodyPr/>
        <a:lstStyle/>
        <a:p>
          <a:endParaRPr lang="en-US"/>
        </a:p>
      </dgm:t>
    </dgm:pt>
    <dgm:pt modelId="{BE5A6BC4-A2CF-4954-ABF8-D2B4B376DB2B}" type="pres">
      <dgm:prSet presAssocID="{50BC1A87-A342-4C04-81E0-CAB3123AEAE3}" presName="Name0" presStyleCnt="0">
        <dgm:presLayoutVars>
          <dgm:chMax val="7"/>
          <dgm:chPref val="5"/>
        </dgm:presLayoutVars>
      </dgm:prSet>
      <dgm:spPr/>
    </dgm:pt>
    <dgm:pt modelId="{017998B9-AAB7-4B9B-980B-9E1A5FDA3ED5}" type="pres">
      <dgm:prSet presAssocID="{50BC1A87-A342-4C04-81E0-CAB3123AEAE3}" presName="arrowNode" presStyleLbl="node1" presStyleIdx="0" presStyleCnt="1"/>
      <dgm:spPr/>
    </dgm:pt>
    <dgm:pt modelId="{E03CBCCB-BAA1-4217-946C-806A86A663AC}" type="pres">
      <dgm:prSet presAssocID="{825E6FBD-5090-41B8-9940-AEDDAA7B531E}" presName="txNode1" presStyleLbl="revTx" presStyleIdx="0" presStyleCnt="2">
        <dgm:presLayoutVars>
          <dgm:bulletEnabled val="1"/>
        </dgm:presLayoutVars>
      </dgm:prSet>
      <dgm:spPr/>
    </dgm:pt>
    <dgm:pt modelId="{7640B40A-7B6C-4498-BB8D-90EB7CD14EA8}" type="pres">
      <dgm:prSet presAssocID="{AA652361-6BAE-42A6-8179-F1C770739F97}" presName="txNode2" presStyleLbl="revTx" presStyleIdx="1" presStyleCnt="2">
        <dgm:presLayoutVars>
          <dgm:bulletEnabled val="1"/>
        </dgm:presLayoutVars>
      </dgm:prSet>
      <dgm:spPr/>
    </dgm:pt>
  </dgm:ptLst>
  <dgm:cxnLst>
    <dgm:cxn modelId="{F6CFAC0E-E50B-450C-B79D-8E8B93415C84}" srcId="{50BC1A87-A342-4C04-81E0-CAB3123AEAE3}" destId="{AA652361-6BAE-42A6-8179-F1C770739F97}" srcOrd="1" destOrd="0" parTransId="{91A937DD-CCE7-4E2B-BD7B-641F1141E3A9}" sibTransId="{349A4060-D61D-48CE-ABC2-FEC2D1EF8C9B}"/>
    <dgm:cxn modelId="{7748DB4C-657A-4B4A-8A3B-2665272D5DB6}" type="presOf" srcId="{50BC1A87-A342-4C04-81E0-CAB3123AEAE3}" destId="{BE5A6BC4-A2CF-4954-ABF8-D2B4B376DB2B}" srcOrd="0" destOrd="0" presId="urn:microsoft.com/office/officeart/2009/3/layout/DescendingProcess"/>
    <dgm:cxn modelId="{E0091D8C-E641-4A42-A268-39798D9ACF0B}" srcId="{50BC1A87-A342-4C04-81E0-CAB3123AEAE3}" destId="{825E6FBD-5090-41B8-9940-AEDDAA7B531E}" srcOrd="0" destOrd="0" parTransId="{D03FB6FE-435A-40D7-A47F-EC646527D658}" sibTransId="{7EE9F414-9F0D-4B77-B8B8-D69B3596CC3A}"/>
    <dgm:cxn modelId="{ED54AF9E-67D3-4878-AB24-D1DB6BAEE3F8}" type="presOf" srcId="{825E6FBD-5090-41B8-9940-AEDDAA7B531E}" destId="{E03CBCCB-BAA1-4217-946C-806A86A663AC}" srcOrd="0" destOrd="0" presId="urn:microsoft.com/office/officeart/2009/3/layout/DescendingProcess"/>
    <dgm:cxn modelId="{7AE22DB1-ADBF-4DC9-9BD9-BEBA8F6480EE}" type="presOf" srcId="{AA652361-6BAE-42A6-8179-F1C770739F97}" destId="{7640B40A-7B6C-4498-BB8D-90EB7CD14EA8}" srcOrd="0" destOrd="0" presId="urn:microsoft.com/office/officeart/2009/3/layout/DescendingProcess"/>
    <dgm:cxn modelId="{DC831FBC-D4C0-46C4-913B-203F4272653B}" type="presParOf" srcId="{BE5A6BC4-A2CF-4954-ABF8-D2B4B376DB2B}" destId="{017998B9-AAB7-4B9B-980B-9E1A5FDA3ED5}" srcOrd="0" destOrd="0" presId="urn:microsoft.com/office/officeart/2009/3/layout/DescendingProcess"/>
    <dgm:cxn modelId="{13C58569-3223-4F20-9106-E6C7230C2D1D}" type="presParOf" srcId="{BE5A6BC4-A2CF-4954-ABF8-D2B4B376DB2B}" destId="{E03CBCCB-BAA1-4217-946C-806A86A663AC}" srcOrd="1" destOrd="0" presId="urn:microsoft.com/office/officeart/2009/3/layout/DescendingProcess"/>
    <dgm:cxn modelId="{C6C40A94-5C55-4215-B73D-A8786A938FDA}" type="presParOf" srcId="{BE5A6BC4-A2CF-4954-ABF8-D2B4B376DB2B}" destId="{7640B40A-7B6C-4498-BB8D-90EB7CD14EA8}" srcOrd="2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7998B9-AAB7-4B9B-980B-9E1A5FDA3ED5}">
      <dsp:nvSpPr>
        <dsp:cNvPr id="0" name=""/>
        <dsp:cNvSpPr/>
      </dsp:nvSpPr>
      <dsp:spPr>
        <a:xfrm rot="4396374">
          <a:off x="1047923" y="808656"/>
          <a:ext cx="3508078" cy="2446447"/>
        </a:xfrm>
        <a:prstGeom prst="swooshArrow">
          <a:avLst>
            <a:gd name="adj1" fmla="val 16310"/>
            <a:gd name="adj2" fmla="val 313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3CBCCB-BAA1-4217-946C-806A86A663AC}">
      <dsp:nvSpPr>
        <dsp:cNvPr id="0" name=""/>
        <dsp:cNvSpPr/>
      </dsp:nvSpPr>
      <dsp:spPr>
        <a:xfrm>
          <a:off x="812751" y="0"/>
          <a:ext cx="1653950" cy="6502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b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b="1" kern="1200" dirty="0">
              <a:solidFill>
                <a:srgbClr val="C00000"/>
              </a:solidFill>
            </a:rPr>
            <a:t>10.8%</a:t>
          </a:r>
        </a:p>
      </dsp:txBody>
      <dsp:txXfrm>
        <a:off x="812751" y="0"/>
        <a:ext cx="1653950" cy="650201"/>
      </dsp:txXfrm>
    </dsp:sp>
    <dsp:sp modelId="{7640B40A-7B6C-4498-BB8D-90EB7CD14EA8}">
      <dsp:nvSpPr>
        <dsp:cNvPr id="0" name=""/>
        <dsp:cNvSpPr/>
      </dsp:nvSpPr>
      <dsp:spPr>
        <a:xfrm>
          <a:off x="3047820" y="3413558"/>
          <a:ext cx="2235068" cy="65020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b="1" kern="1200" dirty="0">
              <a:solidFill>
                <a:schemeClr val="accent4">
                  <a:lumMod val="50000"/>
                </a:schemeClr>
              </a:solidFill>
            </a:rPr>
            <a:t>1.5%</a:t>
          </a:r>
        </a:p>
      </dsp:txBody>
      <dsp:txXfrm>
        <a:off x="3047820" y="3413558"/>
        <a:ext cx="2235068" cy="65020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1518</cdr:x>
      <cdr:y>0.09733</cdr:y>
    </cdr:from>
    <cdr:to>
      <cdr:x>0.90792</cdr:x>
      <cdr:y>0.4036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A9C64D4B-372B-4EB8-AED2-2B69469622C9}"/>
            </a:ext>
          </a:extLst>
        </cdr:cNvPr>
        <cdr:cNvSpPr txBox="1"/>
      </cdr:nvSpPr>
      <cdr:spPr>
        <a:xfrm xmlns:a="http://schemas.openxmlformats.org/drawingml/2006/main">
          <a:off x="6217318" y="490287"/>
          <a:ext cx="2958577" cy="15430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ZA" sz="1100" dirty="0"/>
        </a:p>
      </cdr:txBody>
    </cdr:sp>
  </cdr:relSizeAnchor>
  <cdr:relSizeAnchor xmlns:cdr="http://schemas.openxmlformats.org/drawingml/2006/chartDrawing">
    <cdr:from>
      <cdr:x>0.57937</cdr:x>
      <cdr:y>0.08977</cdr:y>
    </cdr:from>
    <cdr:to>
      <cdr:x>0.90792</cdr:x>
      <cdr:y>0.44148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0756A599-27F3-4B8E-B8BD-58BC91DF25A2}"/>
            </a:ext>
          </a:extLst>
        </cdr:cNvPr>
        <cdr:cNvSpPr txBox="1"/>
      </cdr:nvSpPr>
      <cdr:spPr>
        <a:xfrm xmlns:a="http://schemas.openxmlformats.org/drawingml/2006/main">
          <a:off x="5855368" y="452187"/>
          <a:ext cx="3320527" cy="17716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ZA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E8E250-E2C7-3140-BB69-08A902C95690}" type="datetimeFigureOut">
              <a:rPr lang="en-US" smtClean="0"/>
              <a:t>6/26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07A0CD-DB90-1C4E-AAA1-EF095778CC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3039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lude actual number of total deaths vs actual new infec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034E84-CC95-4247-97D9-C1D36617DC0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2218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/>
              <a:t>“the condom remains the cheapest and highly effective method we have to stop the spread of HIV” M </a:t>
            </a:r>
            <a:r>
              <a:rPr lang="en-US" altLang="en-US" dirty="0" err="1"/>
              <a:t>Sibibe</a:t>
            </a:r>
            <a:endParaRPr lang="en-US" altLang="en-US" dirty="0"/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13FE8F3E-C464-440D-8748-591E98D5DD87}" type="slidenum">
              <a:rPr lang="en-US" altLang="en-US" smtClean="0"/>
              <a:pPr>
                <a:spcBef>
                  <a:spcPct val="0"/>
                </a:spcBef>
              </a:pPr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194824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1111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8572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8838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697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2031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2314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680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616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2898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0431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8765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B1F0B8-0BF5-2445-9D8B-A523FB807A05}" type="datetimeFigureOut">
              <a:rPr lang="en-US" smtClean="0"/>
              <a:t>6/26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B95B56-C800-E84C-885F-B28653DDE2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323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png"/><Relationship Id="rId7" Type="http://schemas.openxmlformats.org/officeDocument/2006/relationships/image" Target="../media/image32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0" Type="http://schemas.microsoft.com/office/2007/relationships/hdphoto" Target="../media/hdphoto1.wdp"/><Relationship Id="rId4" Type="http://schemas.openxmlformats.org/officeDocument/2006/relationships/image" Target="../media/image29.jpeg"/><Relationship Id="rId9" Type="http://schemas.openxmlformats.org/officeDocument/2006/relationships/image" Target="../media/image34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7.jpeg"/><Relationship Id="rId3" Type="http://schemas.openxmlformats.org/officeDocument/2006/relationships/image" Target="../media/image28.png"/><Relationship Id="rId7" Type="http://schemas.openxmlformats.org/officeDocument/2006/relationships/image" Target="../media/image32.jpg"/><Relationship Id="rId12" Type="http://schemas.openxmlformats.org/officeDocument/2006/relationships/image" Target="../media/image36.gif"/><Relationship Id="rId2" Type="http://schemas.openxmlformats.org/officeDocument/2006/relationships/image" Target="../media/image27.png"/><Relationship Id="rId16" Type="http://schemas.openxmlformats.org/officeDocument/2006/relationships/image" Target="../media/image40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1.png"/><Relationship Id="rId11" Type="http://schemas.openxmlformats.org/officeDocument/2006/relationships/image" Target="../media/image35.png"/><Relationship Id="rId5" Type="http://schemas.openxmlformats.org/officeDocument/2006/relationships/image" Target="../media/image30.png"/><Relationship Id="rId15" Type="http://schemas.openxmlformats.org/officeDocument/2006/relationships/image" Target="../media/image39.jpeg"/><Relationship Id="rId10" Type="http://schemas.microsoft.com/office/2007/relationships/hdphoto" Target="../media/hdphoto1.wdp"/><Relationship Id="rId4" Type="http://schemas.openxmlformats.org/officeDocument/2006/relationships/image" Target="../media/image29.jpeg"/><Relationship Id="rId9" Type="http://schemas.openxmlformats.org/officeDocument/2006/relationships/image" Target="../media/image34.png"/><Relationship Id="rId14" Type="http://schemas.openxmlformats.org/officeDocument/2006/relationships/image" Target="../media/image3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/>
          <p:nvPr/>
        </p:nvSpPr>
        <p:spPr>
          <a:xfrm>
            <a:off x="636237" y="2562314"/>
            <a:ext cx="8295903" cy="1384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3200">
                <a:solidFill>
                  <a:srgbClr val="003399"/>
                </a:solidFill>
                <a:latin typeface="Arial Bold"/>
                <a:ea typeface="Arial Bold"/>
                <a:cs typeface="Arial Bold"/>
                <a:sym typeface="Arial Bold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4800" dirty="0">
                <a:solidFill>
                  <a:srgbClr val="003399"/>
                </a:solidFill>
              </a:rPr>
              <a:t>HIV/AIDS and Health </a:t>
            </a:r>
          </a:p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3600" dirty="0">
                <a:solidFill>
                  <a:schemeClr val="tx2"/>
                </a:solidFill>
              </a:rPr>
              <a:t>Awareness and Wellness </a:t>
            </a:r>
            <a:endParaRPr sz="3600" dirty="0">
              <a:solidFill>
                <a:schemeClr val="tx2"/>
              </a:solidFill>
            </a:endParaRPr>
          </a:p>
        </p:txBody>
      </p:sp>
      <p:sp>
        <p:nvSpPr>
          <p:cNvPr id="56" name="Shape 56"/>
          <p:cNvSpPr/>
          <p:nvPr/>
        </p:nvSpPr>
        <p:spPr>
          <a:xfrm>
            <a:off x="1" y="2089937"/>
            <a:ext cx="9143999" cy="1"/>
          </a:xfrm>
          <a:prstGeom prst="line">
            <a:avLst/>
          </a:prstGeom>
          <a:ln w="12700">
            <a:solidFill>
              <a:srgbClr val="00B050"/>
            </a:solidFill>
          </a:ln>
        </p:spPr>
        <p:txBody>
          <a:bodyPr lIns="0" tIns="0" rIns="0" bIns="0"/>
          <a:lstStyle/>
          <a:p>
            <a:pPr lvl="0" defTabSz="457200"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/>
          </a:p>
        </p:txBody>
      </p:sp>
      <p:sp>
        <p:nvSpPr>
          <p:cNvPr id="65" name="Shape 65"/>
          <p:cNvSpPr/>
          <p:nvPr/>
        </p:nvSpPr>
        <p:spPr>
          <a:xfrm>
            <a:off x="1" y="3933057"/>
            <a:ext cx="9143999" cy="1"/>
          </a:xfrm>
          <a:prstGeom prst="line">
            <a:avLst/>
          </a:prstGeom>
          <a:ln w="19050">
            <a:solidFill>
              <a:srgbClr val="00B050"/>
            </a:solidFill>
          </a:ln>
        </p:spPr>
        <p:txBody>
          <a:bodyPr lIns="0" tIns="0" rIns="0" bIns="0"/>
          <a:lstStyle/>
          <a:p>
            <a:pPr lvl="0" defTabSz="457200"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/>
          </a:p>
        </p:txBody>
      </p:sp>
      <p:pic>
        <p:nvPicPr>
          <p:cNvPr id="66" name="image3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678561" y="5862339"/>
            <a:ext cx="1786877" cy="768784"/>
          </a:xfrm>
          <a:prstGeom prst="rect">
            <a:avLst/>
          </a:prstGeom>
          <a:ln w="12700">
            <a:miter lim="400000"/>
          </a:ln>
        </p:spPr>
      </p:pic>
      <p:pic>
        <p:nvPicPr>
          <p:cNvPr id="67" name="image4.pn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812850" y="246818"/>
            <a:ext cx="1169587" cy="126876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989454D-C319-A94F-9ED9-3AACBC118B09}"/>
              </a:ext>
            </a:extLst>
          </p:cNvPr>
          <p:cNvSpPr txBox="1"/>
          <p:nvPr/>
        </p:nvSpPr>
        <p:spPr>
          <a:xfrm>
            <a:off x="877453" y="5144097"/>
            <a:ext cx="73890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Sabin Nsanzimana MD, MSc, PhD</a:t>
            </a:r>
          </a:p>
          <a:p>
            <a:pPr algn="ctr"/>
            <a:r>
              <a:rPr lang="en-US" dirty="0"/>
              <a:t>HIV, STI &amp; Viral Hepatitis Division Manager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BCE463-412E-AB4C-A60B-9C23E8F49DB7}"/>
              </a:ext>
            </a:extLst>
          </p:cNvPr>
          <p:cNvSpPr txBox="1"/>
          <p:nvPr/>
        </p:nvSpPr>
        <p:spPr>
          <a:xfrm>
            <a:off x="345354" y="4211194"/>
            <a:ext cx="8586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26</a:t>
            </a:r>
            <a:r>
              <a:rPr lang="en-US" baseline="30000" dirty="0"/>
              <a:t>st</a:t>
            </a:r>
            <a:r>
              <a:rPr lang="en-US" dirty="0"/>
              <a:t>  June 2019</a:t>
            </a:r>
          </a:p>
          <a:p>
            <a:pPr algn="ctr"/>
            <a:r>
              <a:rPr lang="en-US" dirty="0"/>
              <a:t>Kigali -Rwanda</a:t>
            </a:r>
          </a:p>
        </p:txBody>
      </p:sp>
    </p:spTree>
    <p:extLst>
      <p:ext uri="{BB962C8B-B14F-4D97-AF65-F5344CB8AC3E}">
        <p14:creationId xmlns:p14="http://schemas.microsoft.com/office/powerpoint/2010/main" val="3170981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6153" y="162585"/>
            <a:ext cx="7419791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Mother-To-Child Transmiss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2207595" y="4424842"/>
            <a:ext cx="1026348" cy="4787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49" b="1" i="1" dirty="0">
                <a:solidFill>
                  <a:schemeClr val="bg1"/>
                </a:solidFill>
                <a:latin typeface="Constantia" panose="02030602050306030303" pitchFamily="18" charset="0"/>
              </a:rPr>
              <a:t>45.8%</a:t>
            </a:r>
            <a:endParaRPr lang="en-US" sz="2449" b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691406" y="6345484"/>
            <a:ext cx="3452324" cy="382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837" i="1" dirty="0">
                <a:ea typeface="Arial Unicode MS"/>
                <a:cs typeface="Arial Unicode MS"/>
              </a:rPr>
              <a:t>(</a:t>
            </a:r>
            <a:r>
              <a:rPr lang="en-US" sz="1224" i="1" dirty="0">
                <a:ea typeface="Arial Unicode MS"/>
                <a:cs typeface="Arial Unicode MS"/>
              </a:rPr>
              <a:t>TRACNET/HMIS 2000-2019</a:t>
            </a:r>
            <a:r>
              <a:rPr lang="en-US" sz="1837" i="1" dirty="0">
                <a:ea typeface="Arial Unicode MS"/>
                <a:cs typeface="Arial Unicode MS"/>
              </a:rPr>
              <a:t>)</a:t>
            </a:r>
            <a:endParaRPr lang="en-US" sz="1837" i="1" dirty="0"/>
          </a:p>
        </p:txBody>
      </p:sp>
      <p:sp>
        <p:nvSpPr>
          <p:cNvPr id="9" name="Rectangle 8"/>
          <p:cNvSpPr/>
          <p:nvPr/>
        </p:nvSpPr>
        <p:spPr>
          <a:xfrm>
            <a:off x="270" y="0"/>
            <a:ext cx="9143461" cy="1110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/>
          </a:p>
        </p:txBody>
      </p:sp>
      <p:sp>
        <p:nvSpPr>
          <p:cNvPr id="10" name="TextBox 9"/>
          <p:cNvSpPr txBox="1"/>
          <p:nvPr/>
        </p:nvSpPr>
        <p:spPr>
          <a:xfrm>
            <a:off x="76152" y="162585"/>
            <a:ext cx="9312159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HIV Prevention in Rwand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010497" y="639197"/>
            <a:ext cx="2133234" cy="47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49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MTCT</a:t>
            </a:r>
            <a:endParaRPr lang="en-US" sz="2449" b="1" dirty="0">
              <a:solidFill>
                <a:srgbClr val="FF0000"/>
              </a:solidFill>
              <a:latin typeface="Constantia"/>
              <a:cs typeface="Constantia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691405" y="1100107"/>
            <a:ext cx="3452324" cy="382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837" b="1" dirty="0">
                <a:solidFill>
                  <a:srgbClr val="FF0000"/>
                </a:solidFill>
                <a:ea typeface="Arial Unicode MS"/>
                <a:cs typeface="Arial Unicode MS"/>
              </a:rPr>
              <a:t>(</a:t>
            </a:r>
            <a:r>
              <a:rPr lang="en-US" sz="1837" dirty="0">
                <a:solidFill>
                  <a:srgbClr val="FF0000"/>
                </a:solidFill>
              </a:rPr>
              <a:t>Mother-To-Child Transmission</a:t>
            </a:r>
            <a:r>
              <a:rPr lang="en-US" sz="1837" b="1" dirty="0">
                <a:solidFill>
                  <a:srgbClr val="FF0000"/>
                </a:solidFill>
                <a:ea typeface="Arial Unicode MS"/>
                <a:cs typeface="Arial Unicode MS"/>
              </a:rPr>
              <a:t>)</a:t>
            </a:r>
            <a:endParaRPr lang="en-US" sz="1837" dirty="0">
              <a:solidFill>
                <a:srgbClr val="FF0000"/>
              </a:solidFill>
            </a:endParaRPr>
          </a:p>
        </p:txBody>
      </p:sp>
      <p:graphicFrame>
        <p:nvGraphicFramePr>
          <p:cNvPr id="2" name="Diagram 1"/>
          <p:cNvGraphicFramePr/>
          <p:nvPr>
            <p:extLst/>
          </p:nvPr>
        </p:nvGraphicFramePr>
        <p:xfrm>
          <a:off x="1524180" y="1397121"/>
          <a:ext cx="6095640" cy="40637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5"/>
          <p:cNvSpPr/>
          <p:nvPr/>
        </p:nvSpPr>
        <p:spPr>
          <a:xfrm>
            <a:off x="677996" y="1397121"/>
            <a:ext cx="1249832" cy="44242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57" dirty="0">
                <a:solidFill>
                  <a:schemeClr val="tx1"/>
                </a:solidFill>
              </a:rPr>
              <a:t>2000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57763" y="4895884"/>
            <a:ext cx="1249832" cy="44242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57" dirty="0">
                <a:solidFill>
                  <a:schemeClr val="tx1"/>
                </a:solidFill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1548125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270" y="0"/>
            <a:ext cx="9143461" cy="1110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/>
          </a:p>
        </p:txBody>
      </p:sp>
      <p:sp>
        <p:nvSpPr>
          <p:cNvPr id="38" name="TextBox 37"/>
          <p:cNvSpPr txBox="1"/>
          <p:nvPr/>
        </p:nvSpPr>
        <p:spPr>
          <a:xfrm>
            <a:off x="76152" y="162585"/>
            <a:ext cx="9312159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HIV Preventio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264" y="1543893"/>
            <a:ext cx="7229472" cy="481964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010497" y="639197"/>
            <a:ext cx="2133234" cy="47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49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VMMC</a:t>
            </a:r>
            <a:endParaRPr lang="en-US" sz="2449" b="1" dirty="0">
              <a:solidFill>
                <a:srgbClr val="FF0000"/>
              </a:solidFill>
              <a:latin typeface="Constantia"/>
              <a:cs typeface="Constanti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63361" y="6363542"/>
            <a:ext cx="8617278" cy="500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altLang="en-US" sz="2041" b="1" dirty="0">
                <a:latin typeface="Aharoni" pitchFamily="2" charset="-79"/>
                <a:cs typeface="Aharoni" pitchFamily="2" charset="-79"/>
              </a:rPr>
              <a:t>Male circumcision reduces the risk of HIV transmission by </a:t>
            </a:r>
            <a:r>
              <a:rPr lang="en-GB" altLang="en-US" sz="2857" b="1" dirty="0">
                <a:latin typeface="Aharoni" pitchFamily="2" charset="-79"/>
                <a:cs typeface="Aharoni" pitchFamily="2" charset="-79"/>
              </a:rPr>
              <a:t>60% </a:t>
            </a:r>
            <a:endParaRPr lang="en-US" altLang="en-US" sz="2041" b="1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429633" y="1100107"/>
            <a:ext cx="3878312" cy="382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37" dirty="0"/>
              <a:t>(Voluntary Medical Male Circumcision</a:t>
            </a:r>
          </a:p>
        </p:txBody>
      </p:sp>
    </p:spTree>
    <p:extLst>
      <p:ext uri="{BB962C8B-B14F-4D97-AF65-F5344CB8AC3E}">
        <p14:creationId xmlns:p14="http://schemas.microsoft.com/office/powerpoint/2010/main" val="2996516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270" y="0"/>
            <a:ext cx="9143461" cy="1110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/>
          </a:p>
        </p:txBody>
      </p:sp>
      <p:sp>
        <p:nvSpPr>
          <p:cNvPr id="38" name="TextBox 37"/>
          <p:cNvSpPr txBox="1"/>
          <p:nvPr/>
        </p:nvSpPr>
        <p:spPr>
          <a:xfrm>
            <a:off x="76152" y="162585"/>
            <a:ext cx="9312159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HIV Prevention in Rwanda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010497" y="639197"/>
            <a:ext cx="2133234" cy="47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49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VMMC</a:t>
            </a:r>
            <a:endParaRPr lang="en-US" sz="2449" b="1" dirty="0">
              <a:solidFill>
                <a:srgbClr val="FF0000"/>
              </a:solidFill>
              <a:latin typeface="Constantia"/>
              <a:cs typeface="Constantia"/>
            </a:endParaRPr>
          </a:p>
        </p:txBody>
      </p:sp>
      <p:pic>
        <p:nvPicPr>
          <p:cNvPr id="7" name="Picture 2" descr="Image result for surgical instruments in operation theat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119" y="1389078"/>
            <a:ext cx="3674936" cy="2756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C:\Users\Placidie\Desktop\prepex.jpg">
            <a:extLst>
              <a:ext uri="{FF2B5EF4-FFF2-40B4-BE49-F238E27FC236}">
                <a16:creationId xmlns:a16="http://schemas.microsoft.com/office/drawing/2014/main" id="{A9372639-54A2-4D43-AC90-F729397CB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842" y="1857515"/>
            <a:ext cx="4114557" cy="2693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Placidie\Desktop\Mogen Clamp.jpg">
            <a:extLst>
              <a:ext uri="{FF2B5EF4-FFF2-40B4-BE49-F238E27FC236}">
                <a16:creationId xmlns:a16="http://schemas.microsoft.com/office/drawing/2014/main" id="{301C00FE-03BC-D64C-A68B-20E6196EE2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8391" y="4760162"/>
            <a:ext cx="5333685" cy="1776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5429633" y="1100107"/>
            <a:ext cx="3878312" cy="382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37" dirty="0"/>
              <a:t>(Voluntary Medical Male Circumcision</a:t>
            </a:r>
          </a:p>
        </p:txBody>
      </p:sp>
    </p:spTree>
    <p:extLst>
      <p:ext uri="{BB962C8B-B14F-4D97-AF65-F5344CB8AC3E}">
        <p14:creationId xmlns:p14="http://schemas.microsoft.com/office/powerpoint/2010/main" val="25173840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b="1" dirty="0">
                <a:solidFill>
                  <a:schemeClr val="tx2"/>
                </a:solidFill>
              </a:rPr>
              <a:t>The heart of Prevention </a:t>
            </a:r>
          </a:p>
        </p:txBody>
      </p:sp>
      <p:pic>
        <p:nvPicPr>
          <p:cNvPr id="9218" name="Picture 2" descr="D:\Users\deperthes\Desktop\male condoms.p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200" y="2246313"/>
            <a:ext cx="1638300" cy="3392487"/>
          </a:xfrm>
          <a:noFill/>
        </p:spPr>
      </p:pic>
      <p:sp>
        <p:nvSpPr>
          <p:cNvPr id="4" name="TextBox 3"/>
          <p:cNvSpPr txBox="1"/>
          <p:nvPr/>
        </p:nvSpPr>
        <p:spPr>
          <a:xfrm>
            <a:off x="2514600" y="1293998"/>
            <a:ext cx="6400800" cy="560153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/>
              <a:t>Use of </a:t>
            </a:r>
            <a:r>
              <a:rPr lang="en-US" sz="3600" dirty="0">
                <a:latin typeface="+mn-lt"/>
                <a:cs typeface="+mn-cs"/>
              </a:rPr>
              <a:t> condom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000" dirty="0">
              <a:latin typeface="+mn-lt"/>
              <a:cs typeface="+mn-cs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+mn-lt"/>
                <a:cs typeface="+mn-cs"/>
              </a:rPr>
              <a:t>The only multipurpose device, available </a:t>
            </a:r>
            <a:r>
              <a:rPr lang="en-US" sz="2400" i="1" dirty="0">
                <a:latin typeface="+mn-lt"/>
                <a:cs typeface="+mn-cs"/>
              </a:rPr>
              <a:t>NOW</a:t>
            </a:r>
            <a:r>
              <a:rPr lang="en-US" sz="2400" dirty="0">
                <a:latin typeface="+mn-lt"/>
                <a:cs typeface="+mn-cs"/>
              </a:rPr>
              <a:t>!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+mn-lt"/>
                <a:cs typeface="+mn-cs"/>
              </a:rPr>
              <a:t>Triple protection method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+mn-lt"/>
                <a:cs typeface="+mn-cs"/>
              </a:rPr>
              <a:t>Effective against HIV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+mn-lt"/>
                <a:cs typeface="+mn-cs"/>
              </a:rPr>
              <a:t>Effective against STIs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+mn-lt"/>
                <a:cs typeface="+mn-cs"/>
              </a:rPr>
              <a:t>Effective against unwanted pregnancy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+mn-lt"/>
                <a:cs typeface="+mn-cs"/>
              </a:rPr>
              <a:t>No side effect, no resistance, inexpensive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+mn-lt"/>
                <a:cs typeface="+mn-cs"/>
              </a:rPr>
              <a:t>Prefect for anal sex (male condoms)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+mn-lt"/>
                <a:cs typeface="+mn-cs"/>
              </a:rPr>
              <a:t>Perfect for vaginal sex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latin typeface="+mn-lt"/>
                <a:cs typeface="+mn-cs"/>
              </a:rPr>
              <a:t>Variety of sizes (49 mm for YP – 56 mm for gifted men), texture, shapes, color, scent, flavor, materials, designs and more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42571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270" y="0"/>
            <a:ext cx="9143461" cy="1110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/>
          </a:p>
        </p:txBody>
      </p:sp>
      <p:sp>
        <p:nvSpPr>
          <p:cNvPr id="38" name="TextBox 37"/>
          <p:cNvSpPr txBox="1"/>
          <p:nvPr/>
        </p:nvSpPr>
        <p:spPr>
          <a:xfrm>
            <a:off x="76152" y="162585"/>
            <a:ext cx="9312159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HIV Prevention in Rwanda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010497" y="639197"/>
            <a:ext cx="2133234" cy="47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49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Condoms</a:t>
            </a:r>
            <a:endParaRPr lang="en-US" sz="2449" b="1" dirty="0">
              <a:solidFill>
                <a:srgbClr val="FF0000"/>
              </a:solidFill>
              <a:latin typeface="Constantia"/>
              <a:cs typeface="Constantia"/>
            </a:endParaRPr>
          </a:p>
        </p:txBody>
      </p:sp>
      <p:pic>
        <p:nvPicPr>
          <p:cNvPr id="13" name="Picture 12" descr="C:\Users\ADMIN\Desktop\27078595306_c2b3ea6883_o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422" y="1340675"/>
            <a:ext cx="5046535" cy="5096842"/>
          </a:xfrm>
          <a:prstGeom prst="rect">
            <a:avLst/>
          </a:prstGeom>
          <a:noFill/>
          <a:ln>
            <a:noFill/>
          </a:ln>
        </p:spPr>
      </p:pic>
      <p:pic>
        <p:nvPicPr>
          <p:cNvPr id="46084" name="Picture 4" descr="Image result for 24/ 7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53"/>
          <a:stretch/>
        </p:blipFill>
        <p:spPr bwMode="auto">
          <a:xfrm>
            <a:off x="6496125" y="1796828"/>
            <a:ext cx="1835435" cy="1850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5554100" y="3889096"/>
            <a:ext cx="3355466" cy="18248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37" b="1" dirty="0">
                <a:latin typeface="Constantia"/>
                <a:cs typeface="Constantia"/>
              </a:rPr>
              <a:t>By 2018:</a:t>
            </a:r>
          </a:p>
          <a:p>
            <a:endParaRPr lang="en-US" sz="1837" dirty="0">
              <a:latin typeface="Constantia"/>
              <a:cs typeface="Constantia"/>
            </a:endParaRPr>
          </a:p>
          <a:p>
            <a:pPr marL="291551" indent="-291551">
              <a:buFont typeface="Arial"/>
              <a:buChar char="•"/>
            </a:pPr>
            <a:r>
              <a:rPr lang="en-US" sz="1837" dirty="0">
                <a:latin typeface="Constantia"/>
                <a:cs typeface="Constantia"/>
              </a:rPr>
              <a:t>More than </a:t>
            </a:r>
            <a:r>
              <a:rPr lang="en-US" sz="1837" b="1" dirty="0">
                <a:latin typeface="Constantia"/>
                <a:cs typeface="Constantia"/>
              </a:rPr>
              <a:t>1 million </a:t>
            </a:r>
            <a:r>
              <a:rPr lang="en-US" sz="1837" dirty="0">
                <a:latin typeface="Constantia"/>
                <a:cs typeface="Constantia"/>
              </a:rPr>
              <a:t>of condoms distributed through  condoms kiosks</a:t>
            </a:r>
          </a:p>
          <a:p>
            <a:endParaRPr lang="en-US" sz="1837" dirty="0">
              <a:latin typeface="Constantia"/>
              <a:cs typeface="Constantia"/>
            </a:endParaRPr>
          </a:p>
        </p:txBody>
      </p:sp>
    </p:spTree>
    <p:extLst>
      <p:ext uri="{BB962C8B-B14F-4D97-AF65-F5344CB8AC3E}">
        <p14:creationId xmlns:p14="http://schemas.microsoft.com/office/powerpoint/2010/main" val="29977888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70" y="0"/>
            <a:ext cx="9143461" cy="1110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/>
          </a:p>
        </p:txBody>
      </p:sp>
      <p:sp>
        <p:nvSpPr>
          <p:cNvPr id="6" name="TextBox 5"/>
          <p:cNvSpPr txBox="1"/>
          <p:nvPr/>
        </p:nvSpPr>
        <p:spPr>
          <a:xfrm>
            <a:off x="76152" y="162585"/>
            <a:ext cx="9312159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HIV Care &amp; Treatment in RW.</a:t>
            </a:r>
          </a:p>
        </p:txBody>
      </p:sp>
      <p:graphicFrame>
        <p:nvGraphicFramePr>
          <p:cNvPr id="9" name="Chart 8"/>
          <p:cNvGraphicFramePr/>
          <p:nvPr>
            <p:extLst/>
          </p:nvPr>
        </p:nvGraphicFramePr>
        <p:xfrm>
          <a:off x="573122" y="1373055"/>
          <a:ext cx="7929525" cy="4613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Rectangle 9"/>
          <p:cNvSpPr/>
          <p:nvPr/>
        </p:nvSpPr>
        <p:spPr>
          <a:xfrm>
            <a:off x="6756403" y="1110239"/>
            <a:ext cx="2387328" cy="962996"/>
          </a:xfrm>
          <a:prstGeom prst="rect">
            <a:avLst/>
          </a:prstGeom>
          <a:solidFill>
            <a:srgbClr val="FFFFFF"/>
          </a:solidFill>
          <a:ln>
            <a:solidFill>
              <a:srgbClr val="0065C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37" b="1" dirty="0">
                <a:solidFill>
                  <a:srgbClr val="FF0000"/>
                </a:solidFill>
                <a:latin typeface="Constantia"/>
                <a:cs typeface="Constantia"/>
              </a:rPr>
              <a:t>85% by march 2019</a:t>
            </a:r>
            <a:endParaRPr lang="en-US" sz="1837" b="1" dirty="0">
              <a:solidFill>
                <a:srgbClr val="0065CC"/>
              </a:solidFill>
              <a:latin typeface="Constantia"/>
              <a:cs typeface="Constantia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010497" y="639197"/>
            <a:ext cx="2133234" cy="47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49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ARVs</a:t>
            </a:r>
            <a:endParaRPr lang="en-US" sz="2449" b="1" dirty="0">
              <a:solidFill>
                <a:srgbClr val="FF0000"/>
              </a:solidFill>
              <a:latin typeface="Constantia"/>
              <a:cs typeface="Constantia"/>
            </a:endParaRPr>
          </a:p>
        </p:txBody>
      </p:sp>
    </p:spTree>
    <p:extLst>
      <p:ext uri="{BB962C8B-B14F-4D97-AF65-F5344CB8AC3E}">
        <p14:creationId xmlns:p14="http://schemas.microsoft.com/office/powerpoint/2010/main" val="40438928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>
            <a:spLocks noGrp="1"/>
          </p:cNvSpPr>
          <p:nvPr>
            <p:ph type="sldNum" sz="quarter" idx="4294967295"/>
          </p:nvPr>
        </p:nvSpPr>
        <p:spPr>
          <a:xfrm>
            <a:off x="6057813" y="6408188"/>
            <a:ext cx="1600107" cy="26109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sz="1125">
                <a:solidFill>
                  <a:srgbClr val="888888"/>
                </a:solidFill>
              </a:rPr>
              <a:t>16</a:t>
            </a:fld>
            <a:endParaRPr sz="1125">
              <a:solidFill>
                <a:srgbClr val="888888"/>
              </a:solidFill>
            </a:endParaRPr>
          </a:p>
        </p:txBody>
      </p:sp>
      <p:pic>
        <p:nvPicPr>
          <p:cNvPr id="60" name="Pyramid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58693" y="1101960"/>
            <a:ext cx="7807018" cy="546204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ounded Rectangle 1"/>
          <p:cNvSpPr/>
          <p:nvPr/>
        </p:nvSpPr>
        <p:spPr>
          <a:xfrm>
            <a:off x="524115" y="1568102"/>
            <a:ext cx="6790924" cy="1991231"/>
          </a:xfrm>
          <a:prstGeom prst="roundRect">
            <a:avLst/>
          </a:prstGeom>
          <a:noFill/>
          <a:ln w="3175" cmpd="sng">
            <a:solidFill>
              <a:schemeClr val="accent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" name="Rectangle 5"/>
          <p:cNvSpPr/>
          <p:nvPr/>
        </p:nvSpPr>
        <p:spPr>
          <a:xfrm>
            <a:off x="541" y="202"/>
            <a:ext cx="9142921" cy="1110173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en-US" sz="4488" b="1" dirty="0">
                <a:solidFill>
                  <a:schemeClr val="bg1"/>
                </a:solidFill>
                <a:ea typeface="Arial Unicode MS"/>
                <a:cs typeface="Arial Unicode MS"/>
              </a:rPr>
              <a:t>Demographics of PLHIV in Rwanda</a:t>
            </a:r>
          </a:p>
        </p:txBody>
      </p:sp>
    </p:spTree>
    <p:extLst>
      <p:ext uri="{BB962C8B-B14F-4D97-AF65-F5344CB8AC3E}">
        <p14:creationId xmlns:p14="http://schemas.microsoft.com/office/powerpoint/2010/main" val="3922199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70" y="0"/>
            <a:ext cx="9143461" cy="1110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/>
          </a:p>
        </p:txBody>
      </p:sp>
      <p:sp>
        <p:nvSpPr>
          <p:cNvPr id="6" name="TextBox 5"/>
          <p:cNvSpPr txBox="1"/>
          <p:nvPr/>
        </p:nvSpPr>
        <p:spPr>
          <a:xfrm>
            <a:off x="76152" y="162585"/>
            <a:ext cx="9312159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HIV Care &amp; Treat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010497" y="639197"/>
            <a:ext cx="2133234" cy="47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49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ARVs</a:t>
            </a:r>
            <a:endParaRPr lang="en-US" sz="2449" b="1" dirty="0">
              <a:solidFill>
                <a:srgbClr val="FF0000"/>
              </a:solidFill>
              <a:latin typeface="Constantia"/>
              <a:cs typeface="Constantia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77345" y="5898139"/>
            <a:ext cx="8866386" cy="696933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896112" rtl="0" eaLnBrk="1" latinLnBrk="0" hangingPunct="1">
              <a:spcBef>
                <a:spcPct val="0"/>
              </a:spcBef>
              <a:buNone/>
              <a:defRPr sz="431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73" b="1" dirty="0"/>
              <a:t>Saving Lives with ARVs and anti TB</a:t>
            </a:r>
            <a:br>
              <a:rPr lang="en-US" sz="1800" dirty="0"/>
            </a:br>
            <a:endParaRPr lang="en-US" sz="18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736" y="1608679"/>
            <a:ext cx="8114821" cy="3914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1" name="Text Box 4"/>
          <p:cNvSpPr txBox="1">
            <a:spLocks noChangeArrowheads="1"/>
          </p:cNvSpPr>
          <p:nvPr/>
        </p:nvSpPr>
        <p:spPr bwMode="auto">
          <a:xfrm>
            <a:off x="794765" y="5231482"/>
            <a:ext cx="5505125" cy="320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12210" rIns="0" bIns="0" anchor="ctr"/>
          <a:lstStyle>
            <a:lvl1pPr>
              <a:tabLst>
                <a:tab pos="649288" algn="l"/>
                <a:tab pos="1298575" algn="l"/>
                <a:tab pos="1947863" algn="l"/>
                <a:tab pos="2597150" algn="l"/>
                <a:tab pos="3248025" algn="l"/>
                <a:tab pos="3897313" algn="l"/>
                <a:tab pos="4546600" algn="l"/>
                <a:tab pos="5195888" algn="l"/>
              </a:tabLst>
              <a:defRPr sz="2400">
                <a:solidFill>
                  <a:schemeClr val="tx1"/>
                </a:solidFill>
                <a:latin typeface="Times" charset="0"/>
                <a:ea typeface="ヒラギノ角ゴ Pro W3" charset="-128"/>
              </a:defRPr>
            </a:lvl1pPr>
            <a:lvl2pPr marL="742950" indent="-285750">
              <a:tabLst>
                <a:tab pos="649288" algn="l"/>
                <a:tab pos="1298575" algn="l"/>
                <a:tab pos="1947863" algn="l"/>
                <a:tab pos="2597150" algn="l"/>
                <a:tab pos="3248025" algn="l"/>
                <a:tab pos="3897313" algn="l"/>
                <a:tab pos="4546600" algn="l"/>
                <a:tab pos="5195888" algn="l"/>
              </a:tabLst>
              <a:defRPr sz="2400">
                <a:solidFill>
                  <a:schemeClr val="tx1"/>
                </a:solidFill>
                <a:latin typeface="Times" charset="0"/>
                <a:ea typeface="ヒラギノ角ゴ Pro W3" charset="-128"/>
              </a:defRPr>
            </a:lvl2pPr>
            <a:lvl3pPr marL="1143000" indent="-228600">
              <a:tabLst>
                <a:tab pos="649288" algn="l"/>
                <a:tab pos="1298575" algn="l"/>
                <a:tab pos="1947863" algn="l"/>
                <a:tab pos="2597150" algn="l"/>
                <a:tab pos="3248025" algn="l"/>
                <a:tab pos="3897313" algn="l"/>
                <a:tab pos="4546600" algn="l"/>
                <a:tab pos="5195888" algn="l"/>
              </a:tabLst>
              <a:defRPr sz="2400">
                <a:solidFill>
                  <a:schemeClr val="tx1"/>
                </a:solidFill>
                <a:latin typeface="Times" charset="0"/>
                <a:ea typeface="ヒラギノ角ゴ Pro W3" charset="-128"/>
              </a:defRPr>
            </a:lvl3pPr>
            <a:lvl4pPr marL="1600200" indent="-228600">
              <a:tabLst>
                <a:tab pos="649288" algn="l"/>
                <a:tab pos="1298575" algn="l"/>
                <a:tab pos="1947863" algn="l"/>
                <a:tab pos="2597150" algn="l"/>
                <a:tab pos="3248025" algn="l"/>
                <a:tab pos="3897313" algn="l"/>
                <a:tab pos="4546600" algn="l"/>
                <a:tab pos="5195888" algn="l"/>
              </a:tabLst>
              <a:defRPr sz="2400">
                <a:solidFill>
                  <a:schemeClr val="tx1"/>
                </a:solidFill>
                <a:latin typeface="Times" charset="0"/>
                <a:ea typeface="ヒラギノ角ゴ Pro W3" charset="-128"/>
              </a:defRPr>
            </a:lvl4pPr>
            <a:lvl5pPr marL="2057400" indent="-228600">
              <a:tabLst>
                <a:tab pos="649288" algn="l"/>
                <a:tab pos="1298575" algn="l"/>
                <a:tab pos="1947863" algn="l"/>
                <a:tab pos="2597150" algn="l"/>
                <a:tab pos="3248025" algn="l"/>
                <a:tab pos="3897313" algn="l"/>
                <a:tab pos="4546600" algn="l"/>
                <a:tab pos="5195888" algn="l"/>
              </a:tabLst>
              <a:defRPr sz="2400">
                <a:solidFill>
                  <a:schemeClr val="tx1"/>
                </a:solidFill>
                <a:latin typeface="Times" charset="0"/>
                <a:ea typeface="ヒラギノ角ゴ Pro W3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649288" algn="l"/>
                <a:tab pos="1298575" algn="l"/>
                <a:tab pos="1947863" algn="l"/>
                <a:tab pos="2597150" algn="l"/>
                <a:tab pos="3248025" algn="l"/>
                <a:tab pos="3897313" algn="l"/>
                <a:tab pos="4546600" algn="l"/>
                <a:tab pos="5195888" algn="l"/>
              </a:tabLst>
              <a:defRPr sz="2400">
                <a:solidFill>
                  <a:schemeClr val="tx1"/>
                </a:solidFill>
                <a:latin typeface="Times" charset="0"/>
                <a:ea typeface="ヒラギノ角ゴ Pro W3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649288" algn="l"/>
                <a:tab pos="1298575" algn="l"/>
                <a:tab pos="1947863" algn="l"/>
                <a:tab pos="2597150" algn="l"/>
                <a:tab pos="3248025" algn="l"/>
                <a:tab pos="3897313" algn="l"/>
                <a:tab pos="4546600" algn="l"/>
                <a:tab pos="5195888" algn="l"/>
              </a:tabLst>
              <a:defRPr sz="2400">
                <a:solidFill>
                  <a:schemeClr val="tx1"/>
                </a:solidFill>
                <a:latin typeface="Times" charset="0"/>
                <a:ea typeface="ヒラギノ角ゴ Pro W3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649288" algn="l"/>
                <a:tab pos="1298575" algn="l"/>
                <a:tab pos="1947863" algn="l"/>
                <a:tab pos="2597150" algn="l"/>
                <a:tab pos="3248025" algn="l"/>
                <a:tab pos="3897313" algn="l"/>
                <a:tab pos="4546600" algn="l"/>
                <a:tab pos="5195888" algn="l"/>
              </a:tabLst>
              <a:defRPr sz="2400">
                <a:solidFill>
                  <a:schemeClr val="tx1"/>
                </a:solidFill>
                <a:latin typeface="Times" charset="0"/>
                <a:ea typeface="ヒラギノ角ゴ Pro W3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649288" algn="l"/>
                <a:tab pos="1298575" algn="l"/>
                <a:tab pos="1947863" algn="l"/>
                <a:tab pos="2597150" algn="l"/>
                <a:tab pos="3248025" algn="l"/>
                <a:tab pos="3897313" algn="l"/>
                <a:tab pos="4546600" algn="l"/>
                <a:tab pos="5195888" algn="l"/>
              </a:tabLst>
              <a:defRPr sz="2400">
                <a:solidFill>
                  <a:schemeClr val="tx1"/>
                </a:solidFill>
                <a:latin typeface="Times" charset="0"/>
                <a:ea typeface="ヒラギノ角ゴ Pro W3" charset="-128"/>
              </a:defRPr>
            </a:lvl9pPr>
          </a:lstStyle>
          <a:p>
            <a:pPr defTabSz="914303" eaLnBrk="0" hangingPunct="0">
              <a:lnSpc>
                <a:spcPct val="93000"/>
              </a:lnSpc>
            </a:pPr>
            <a:endParaRPr lang="en-US" altLang="en-US" sz="1200" b="1" dirty="0">
              <a:solidFill>
                <a:srgbClr val="000000"/>
              </a:solidFill>
            </a:endParaRPr>
          </a:p>
          <a:p>
            <a:pPr defTabSz="914303" eaLnBrk="0" hangingPunct="0">
              <a:lnSpc>
                <a:spcPct val="93000"/>
              </a:lnSpc>
            </a:pPr>
            <a:r>
              <a:rPr lang="en-US" altLang="en-US" sz="1200" b="1" dirty="0">
                <a:solidFill>
                  <a:srgbClr val="000000"/>
                </a:solidFill>
              </a:rPr>
              <a:t>Kim JY, Farmer P. N </a:t>
            </a:r>
            <a:r>
              <a:rPr lang="en-US" altLang="en-US" sz="1200" b="1" dirty="0" err="1">
                <a:solidFill>
                  <a:srgbClr val="000000"/>
                </a:solidFill>
              </a:rPr>
              <a:t>Engl</a:t>
            </a:r>
            <a:r>
              <a:rPr lang="en-US" altLang="en-US" sz="1200" b="1" dirty="0">
                <a:solidFill>
                  <a:srgbClr val="000000"/>
                </a:solidFill>
              </a:rPr>
              <a:t> J Med 2006;355:645-647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720083" y="1451994"/>
            <a:ext cx="1220784" cy="3454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March 2003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404460" y="1451994"/>
            <a:ext cx="1452772" cy="3454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rgbClr val="2F19F0"/>
                </a:solidFill>
              </a:rPr>
              <a:t>6 months late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853894" y="1087851"/>
            <a:ext cx="1722443" cy="382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37" dirty="0"/>
              <a:t>(</a:t>
            </a:r>
            <a:r>
              <a:rPr lang="en-US" sz="1837" dirty="0" err="1"/>
              <a:t>Antiretrovirals</a:t>
            </a:r>
            <a:r>
              <a:rPr lang="en-US" sz="1837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91275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70" y="0"/>
            <a:ext cx="9143461" cy="1110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/>
          </a:p>
        </p:txBody>
      </p:sp>
      <p:sp>
        <p:nvSpPr>
          <p:cNvPr id="6" name="TextBox 5"/>
          <p:cNvSpPr txBox="1"/>
          <p:nvPr/>
        </p:nvSpPr>
        <p:spPr>
          <a:xfrm>
            <a:off x="76152" y="162585"/>
            <a:ext cx="9312159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Treatment simplifica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010497" y="639197"/>
            <a:ext cx="2133234" cy="47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49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ARVs</a:t>
            </a:r>
            <a:endParaRPr lang="en-US" sz="2449" b="1" dirty="0">
              <a:solidFill>
                <a:srgbClr val="FF0000"/>
              </a:solidFill>
              <a:latin typeface="Constantia"/>
              <a:cs typeface="Constanti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212979" y="1510917"/>
            <a:ext cx="1417052" cy="382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1837" b="1" dirty="0"/>
              <a:t>Pills burden </a:t>
            </a:r>
            <a:endParaRPr lang="en-US" sz="1837" b="1" dirty="0"/>
          </a:p>
        </p:txBody>
      </p:sp>
      <p:pic>
        <p:nvPicPr>
          <p:cNvPr id="49156" name="Picture 4" descr="Related imag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82" y="2121194"/>
            <a:ext cx="2639035" cy="1633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60" name="Picture 8" descr="Image result for new HIV treatment innovation one pil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3708" y="2121194"/>
            <a:ext cx="2477047" cy="1633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6344363" y="1346412"/>
            <a:ext cx="2572478" cy="67110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en-US" sz="1837" dirty="0"/>
              <a:t>Future Innovations</a:t>
            </a:r>
          </a:p>
          <a:p>
            <a:pPr algn="ctr"/>
            <a:r>
              <a:rPr lang="en-US" sz="1837" dirty="0"/>
              <a:t> </a:t>
            </a:r>
            <a:r>
              <a:rPr lang="en-US" sz="1837" b="1" dirty="0"/>
              <a:t>Long-acting treatment</a:t>
            </a:r>
            <a:r>
              <a:rPr lang="en-US" sz="1837" dirty="0"/>
              <a:t> </a:t>
            </a:r>
            <a:r>
              <a:rPr lang="en-US" altLang="en-US" sz="1837" dirty="0"/>
              <a:t> </a:t>
            </a:r>
            <a:endParaRPr lang="en-US" sz="1837" dirty="0"/>
          </a:p>
        </p:txBody>
      </p:sp>
      <p:pic>
        <p:nvPicPr>
          <p:cNvPr id="49164" name="Picture 12" descr="Image result for injectabl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390" y="2125172"/>
            <a:ext cx="2252634" cy="1629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Arrow Connector 7"/>
          <p:cNvCxnSpPr/>
          <p:nvPr/>
        </p:nvCxnSpPr>
        <p:spPr>
          <a:xfrm>
            <a:off x="5043667" y="1735340"/>
            <a:ext cx="1162475" cy="305"/>
          </a:xfrm>
          <a:prstGeom prst="straightConnector1">
            <a:avLst/>
          </a:prstGeom>
          <a:ln w="762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3814506" y="1573041"/>
            <a:ext cx="1143586" cy="382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37" b="1" dirty="0"/>
              <a:t>Single pill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2602440" y="1738389"/>
            <a:ext cx="1162475" cy="305"/>
          </a:xfrm>
          <a:prstGeom prst="straightConnector1">
            <a:avLst/>
          </a:prstGeom>
          <a:ln w="762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477822" y="5094201"/>
            <a:ext cx="2417558" cy="382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1837" b="1" dirty="0"/>
              <a:t>Monthly drug pick ups</a:t>
            </a:r>
            <a:endParaRPr lang="en-US" sz="1837" b="1" dirty="0"/>
          </a:p>
        </p:txBody>
      </p:sp>
      <p:sp>
        <p:nvSpPr>
          <p:cNvPr id="19" name="Rectangle 18"/>
          <p:cNvSpPr/>
          <p:nvPr/>
        </p:nvSpPr>
        <p:spPr>
          <a:xfrm>
            <a:off x="3183676" y="5635014"/>
            <a:ext cx="2407287" cy="382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1837" b="1" dirty="0"/>
              <a:t>3 months drug pick up</a:t>
            </a:r>
            <a:endParaRPr lang="en-US" sz="1837" b="1" dirty="0"/>
          </a:p>
        </p:txBody>
      </p:sp>
      <p:sp>
        <p:nvSpPr>
          <p:cNvPr id="20" name="Rectangle 19"/>
          <p:cNvSpPr/>
          <p:nvPr/>
        </p:nvSpPr>
        <p:spPr>
          <a:xfrm>
            <a:off x="5864730" y="6215797"/>
            <a:ext cx="2407287" cy="382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1837" b="1" dirty="0"/>
              <a:t>6 months drug pick up</a:t>
            </a:r>
            <a:endParaRPr lang="en-US" sz="1837" b="1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270" y="4638461"/>
            <a:ext cx="9143461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55570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443" y="1295527"/>
            <a:ext cx="8229114" cy="4000264"/>
          </a:xfrm>
        </p:spPr>
        <p:txBody>
          <a:bodyPr>
            <a:normAutofit fontScale="92500"/>
          </a:bodyPr>
          <a:lstStyle/>
          <a:p>
            <a:pPr>
              <a:buClrTx/>
            </a:pPr>
            <a:r>
              <a:rPr lang="en-CA" sz="3400" dirty="0">
                <a:solidFill>
                  <a:srgbClr val="000000"/>
                </a:solidFill>
              </a:rPr>
              <a:t>With the scale up of ART in Rwanda and globally; life expectancy of PLWH has increased</a:t>
            </a:r>
          </a:p>
          <a:p>
            <a:pPr marL="0" indent="0">
              <a:buNone/>
            </a:pPr>
            <a:endParaRPr lang="en-CA" sz="3400" dirty="0">
              <a:solidFill>
                <a:srgbClr val="000000"/>
              </a:solidFill>
            </a:endParaRPr>
          </a:p>
          <a:p>
            <a:pPr>
              <a:buClrTx/>
            </a:pPr>
            <a:r>
              <a:rPr lang="en-CA" sz="3400" dirty="0">
                <a:solidFill>
                  <a:srgbClr val="000000"/>
                </a:solidFill>
              </a:rPr>
              <a:t>The WHO Global Health Observatory Repository estimates life expectancy in Rwanda at age 20 as an additional 45 years </a:t>
            </a:r>
            <a:br>
              <a:rPr lang="en-CA" sz="3400" dirty="0">
                <a:solidFill>
                  <a:srgbClr val="000000"/>
                </a:solidFill>
              </a:rPr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FC02FE-E8B8-4A73-95F9-2DA6D186708B}" type="slidenum">
              <a:rPr lang="en-US" smtClean="0"/>
              <a:t>19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70" y="202"/>
            <a:ext cx="9143461" cy="1142933"/>
          </a:xfrm>
          <a:prstGeom prst="rect">
            <a:avLst/>
          </a:prstGeom>
          <a:solidFill>
            <a:schemeClr val="tx1"/>
          </a:solidFill>
        </p:spPr>
        <p:txBody>
          <a:bodyPr vert="horz" lIns="91434" tIns="45717" rIns="91434" bIns="45717" rtlCol="0" anchor="ctr">
            <a:noAutofit/>
          </a:bodyPr>
          <a:lstStyle>
            <a:defPPr>
              <a:defRPr lang="en-US"/>
            </a:defPPr>
            <a:lvl1pPr>
              <a:defRPr sz="2800">
                <a:solidFill>
                  <a:schemeClr val="bg1"/>
                </a:solidFill>
                <a:latin typeface="Calibri" charset="0"/>
              </a:defRPr>
            </a:lvl1pPr>
          </a:lstStyle>
          <a:p>
            <a:pPr algn="ctr"/>
            <a:r>
              <a:rPr lang="en-US" sz="4400" dirty="0"/>
              <a:t>Conclusions</a:t>
            </a:r>
          </a:p>
        </p:txBody>
      </p:sp>
      <p:sp>
        <p:nvSpPr>
          <p:cNvPr id="2" name="Rectangle 1"/>
          <p:cNvSpPr/>
          <p:nvPr/>
        </p:nvSpPr>
        <p:spPr>
          <a:xfrm>
            <a:off x="1936422" y="4976305"/>
            <a:ext cx="5609326" cy="7222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Tx/>
            </a:pPr>
            <a:r>
              <a:rPr lang="en-CA" sz="4000" b="1" dirty="0">
                <a:solidFill>
                  <a:srgbClr val="000000"/>
                </a:solidFill>
              </a:rPr>
              <a:t>35% gain in just 10 years </a:t>
            </a:r>
            <a:endParaRPr lang="en-US" sz="4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089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68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altLang="en-US" sz="4000">
                <a:ea typeface="+mj-ea"/>
                <a:cs typeface="+mj-cs"/>
              </a:rPr>
              <a:t>AIDS is Caused by HIV</a:t>
            </a:r>
            <a:endParaRPr lang="en-GB" sz="4000">
              <a:ea typeface="+mj-ea"/>
              <a:cs typeface="+mj-cs"/>
            </a:endParaRPr>
          </a:p>
        </p:txBody>
      </p:sp>
      <p:sp>
        <p:nvSpPr>
          <p:cNvPr id="199686" name="Oval 6"/>
          <p:cNvSpPr>
            <a:spLocks noChangeArrowheads="1"/>
          </p:cNvSpPr>
          <p:nvPr/>
        </p:nvSpPr>
        <p:spPr bwMode="blackWhite">
          <a:xfrm>
            <a:off x="2303465" y="1798638"/>
            <a:ext cx="973137" cy="914400"/>
          </a:xfrm>
          <a:prstGeom prst="ellipse">
            <a:avLst/>
          </a:prstGeom>
          <a:gradFill rotWithShape="0">
            <a:gsLst>
              <a:gs pos="0">
                <a:srgbClr val="FF9900"/>
              </a:gs>
              <a:gs pos="100000">
                <a:srgbClr val="FF3300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0" dirty="0">
                <a:latin typeface="Arial Black" pitchFamily="34" charset="0"/>
                <a:ea typeface="ＭＳ Ｐゴシック" charset="0"/>
                <a:cs typeface="Arial" charset="0"/>
              </a:rPr>
              <a:t>H</a:t>
            </a:r>
          </a:p>
        </p:txBody>
      </p:sp>
      <p:sp>
        <p:nvSpPr>
          <p:cNvPr id="199687" name="Oval 7"/>
          <p:cNvSpPr>
            <a:spLocks noChangeArrowheads="1"/>
          </p:cNvSpPr>
          <p:nvPr/>
        </p:nvSpPr>
        <p:spPr bwMode="blackWhite">
          <a:xfrm>
            <a:off x="2303463" y="2895600"/>
            <a:ext cx="812800" cy="914400"/>
          </a:xfrm>
          <a:prstGeom prst="ellipse">
            <a:avLst/>
          </a:prstGeom>
          <a:gradFill rotWithShape="0">
            <a:gsLst>
              <a:gs pos="0">
                <a:srgbClr val="FF9900"/>
              </a:gs>
              <a:gs pos="100000">
                <a:srgbClr val="FF3300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0" dirty="0">
                <a:latin typeface="Arial Black" pitchFamily="34" charset="0"/>
                <a:ea typeface="ＭＳ Ｐゴシック" charset="0"/>
                <a:cs typeface="Arial" charset="0"/>
              </a:rPr>
              <a:t>I</a:t>
            </a:r>
          </a:p>
        </p:txBody>
      </p:sp>
      <p:sp>
        <p:nvSpPr>
          <p:cNvPr id="199688" name="Oval 8"/>
          <p:cNvSpPr>
            <a:spLocks noChangeArrowheads="1"/>
          </p:cNvSpPr>
          <p:nvPr/>
        </p:nvSpPr>
        <p:spPr bwMode="blackWhite">
          <a:xfrm>
            <a:off x="2303465" y="4038600"/>
            <a:ext cx="973137" cy="914400"/>
          </a:xfrm>
          <a:prstGeom prst="ellipse">
            <a:avLst/>
          </a:prstGeom>
          <a:gradFill rotWithShape="0">
            <a:gsLst>
              <a:gs pos="0">
                <a:srgbClr val="FF9900"/>
              </a:gs>
              <a:gs pos="100000">
                <a:srgbClr val="FF3300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0" dirty="0">
                <a:latin typeface="Arial Black" pitchFamily="34" charset="0"/>
                <a:ea typeface="ＭＳ Ｐゴシック" charset="0"/>
                <a:cs typeface="Arial" charset="0"/>
              </a:rPr>
              <a:t>V</a:t>
            </a:r>
          </a:p>
        </p:txBody>
      </p:sp>
      <p:sp>
        <p:nvSpPr>
          <p:cNvPr id="71687" name="Rectangle 9"/>
          <p:cNvSpPr>
            <a:spLocks noChangeArrowheads="1"/>
          </p:cNvSpPr>
          <p:nvPr/>
        </p:nvSpPr>
        <p:spPr bwMode="auto">
          <a:xfrm>
            <a:off x="3629027" y="3032126"/>
            <a:ext cx="482859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600" dirty="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=	Immunodeficiency</a:t>
            </a:r>
            <a:endParaRPr lang="en-GB" sz="3600" dirty="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1688" name="Rectangle 10"/>
          <p:cNvSpPr>
            <a:spLocks noChangeArrowheads="1"/>
          </p:cNvSpPr>
          <p:nvPr/>
        </p:nvSpPr>
        <p:spPr bwMode="auto">
          <a:xfrm>
            <a:off x="3651251" y="1935164"/>
            <a:ext cx="259623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60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=	Human</a:t>
            </a:r>
            <a:endParaRPr lang="en-GB" sz="360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1689" name="Rectangle 11"/>
          <p:cNvSpPr>
            <a:spLocks noChangeArrowheads="1"/>
          </p:cNvSpPr>
          <p:nvPr/>
        </p:nvSpPr>
        <p:spPr bwMode="auto">
          <a:xfrm>
            <a:off x="3651251" y="4251326"/>
            <a:ext cx="215147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600">
                <a:solidFill>
                  <a:srgbClr val="FFFFFF"/>
                </a:solidFill>
                <a:latin typeface="Arial" charset="0"/>
                <a:ea typeface="ＭＳ Ｐゴシック" charset="0"/>
                <a:cs typeface="ＭＳ Ｐゴシック" charset="0"/>
              </a:rPr>
              <a:t>=	Virus</a:t>
            </a:r>
            <a:endParaRPr lang="en-GB" sz="360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1690" name="Rectangle 12"/>
          <p:cNvSpPr>
            <a:spLocks noChangeArrowheads="1"/>
          </p:cNvSpPr>
          <p:nvPr/>
        </p:nvSpPr>
        <p:spPr bwMode="blackWhite">
          <a:xfrm>
            <a:off x="3657600" y="5638800"/>
            <a:ext cx="4986338" cy="584776"/>
          </a:xfrm>
          <a:prstGeom prst="rect">
            <a:avLst/>
          </a:prstGeom>
          <a:gradFill rotWithShape="0">
            <a:gsLst>
              <a:gs pos="0">
                <a:schemeClr val="accent6">
                  <a:lumMod val="20000"/>
                  <a:lumOff val="80000"/>
                </a:schemeClr>
              </a:gs>
              <a:gs pos="100000">
                <a:schemeClr val="accent1">
                  <a:lumMod val="15000"/>
                  <a:lumOff val="85000"/>
                  <a:alpha val="0"/>
                </a:schemeClr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>
                <a:latin typeface="Arial" charset="0"/>
                <a:ea typeface="ＭＳ Ｐゴシック" charset="0"/>
                <a:cs typeface="ＭＳ Ｐゴシック" charset="0"/>
              </a:rPr>
              <a:t>The Virus causing AIDS</a:t>
            </a:r>
            <a:endParaRPr lang="en-GB" sz="320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73D9C5A-2AEC-5846-9128-F9D107138430}"/>
              </a:ext>
            </a:extLst>
          </p:cNvPr>
          <p:cNvCxnSpPr/>
          <p:nvPr/>
        </p:nvCxnSpPr>
        <p:spPr>
          <a:xfrm>
            <a:off x="1743075" y="1417638"/>
            <a:ext cx="7400925" cy="0"/>
          </a:xfrm>
          <a:prstGeom prst="line">
            <a:avLst/>
          </a:prstGeom>
          <a:ln w="57150"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7" name="Curved Right Arrow 6">
            <a:extLst>
              <a:ext uri="{FF2B5EF4-FFF2-40B4-BE49-F238E27FC236}">
                <a16:creationId xmlns:a16="http://schemas.microsoft.com/office/drawing/2014/main" id="{BC906B62-51E9-C44E-8683-181AF9CD296F}"/>
              </a:ext>
            </a:extLst>
          </p:cNvPr>
          <p:cNvSpPr/>
          <p:nvPr/>
        </p:nvSpPr>
        <p:spPr>
          <a:xfrm>
            <a:off x="2008187" y="5129213"/>
            <a:ext cx="1108076" cy="885826"/>
          </a:xfrm>
          <a:prstGeom prst="curvedRightArrow">
            <a:avLst/>
          </a:prstGeom>
          <a:gradFill>
            <a:gsLst>
              <a:gs pos="0">
                <a:schemeClr val="accent2">
                  <a:alpha val="10000"/>
                  <a:lumMod val="0"/>
                  <a:lumOff val="10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0547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70" y="0"/>
            <a:ext cx="9143461" cy="1110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/>
          </a:p>
        </p:txBody>
      </p:sp>
      <p:sp>
        <p:nvSpPr>
          <p:cNvPr id="6" name="TextBox 5"/>
          <p:cNvSpPr txBox="1"/>
          <p:nvPr/>
        </p:nvSpPr>
        <p:spPr>
          <a:xfrm>
            <a:off x="76152" y="162585"/>
            <a:ext cx="9312159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HIV Care &amp; Treat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010497" y="639197"/>
            <a:ext cx="2133234" cy="47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49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ARVs</a:t>
            </a:r>
            <a:endParaRPr lang="en-US" sz="2449" b="1" dirty="0">
              <a:solidFill>
                <a:srgbClr val="FF0000"/>
              </a:solidFill>
              <a:latin typeface="Constantia"/>
              <a:cs typeface="Constantia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853894" y="1087851"/>
            <a:ext cx="1722443" cy="382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37" dirty="0"/>
              <a:t>(</a:t>
            </a:r>
            <a:r>
              <a:rPr lang="en-US" sz="1837" dirty="0" err="1"/>
              <a:t>Antiretrovirals</a:t>
            </a:r>
            <a:r>
              <a:rPr lang="en-US" sz="1837" dirty="0"/>
              <a:t>)</a:t>
            </a:r>
          </a:p>
        </p:txBody>
      </p:sp>
      <p:pic>
        <p:nvPicPr>
          <p:cNvPr id="65542" name="Picture 6" descr="Image result for Undetectable= Untransmissab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331" y="1424266"/>
            <a:ext cx="4891802" cy="2751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285750" y="5261224"/>
            <a:ext cx="8715375" cy="1671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2400" b="1" dirty="0">
              <a:solidFill>
                <a:srgbClr val="002960"/>
              </a:solidFill>
              <a:latin typeface="Helvetica" pitchFamily="2" charset="0"/>
            </a:endParaRPr>
          </a:p>
          <a:p>
            <a:pPr algn="ctr">
              <a:buFont typeface="Wingdings" pitchFamily="2" charset="2"/>
              <a:buChar char="à"/>
            </a:pPr>
            <a:r>
              <a:rPr lang="en-US" sz="2400" dirty="0">
                <a:latin typeface="Helvetica" pitchFamily="2" charset="0"/>
              </a:rPr>
              <a:t>This is now accepted in the HIV/AIDS community as a result of accumulating evidence since the early 2000s. </a:t>
            </a:r>
          </a:p>
          <a:p>
            <a:pPr algn="ctr"/>
            <a:endParaRPr lang="en-US" sz="1837" dirty="0">
              <a:latin typeface="Helvetica" pitchFamily="2" charset="0"/>
            </a:endParaRPr>
          </a:p>
          <a:p>
            <a:pPr algn="ctr"/>
            <a:r>
              <a:rPr lang="en-US" sz="1224" i="1" dirty="0"/>
              <a:t>Undetectable: VL (viral load) &lt; 200 copies/ml </a:t>
            </a:r>
          </a:p>
        </p:txBody>
      </p:sp>
      <p:sp>
        <p:nvSpPr>
          <p:cNvPr id="3" name="Rectangle 2"/>
          <p:cNvSpPr/>
          <p:nvPr/>
        </p:nvSpPr>
        <p:spPr>
          <a:xfrm>
            <a:off x="676308" y="4413349"/>
            <a:ext cx="8111844" cy="863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49" b="1" dirty="0">
                <a:solidFill>
                  <a:srgbClr val="002960"/>
                </a:solidFill>
                <a:latin typeface="Helvetica" pitchFamily="2" charset="0"/>
              </a:rPr>
              <a:t>“People infected with HIV virally suppressed cannot sexually transmit the virus to others”</a:t>
            </a:r>
          </a:p>
        </p:txBody>
      </p:sp>
    </p:spTree>
    <p:extLst>
      <p:ext uri="{BB962C8B-B14F-4D97-AF65-F5344CB8AC3E}">
        <p14:creationId xmlns:p14="http://schemas.microsoft.com/office/powerpoint/2010/main" val="6669860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600" b="1" dirty="0">
                <a:solidFill>
                  <a:srgbClr val="4472C4"/>
                </a:solidFill>
              </a:rPr>
              <a:t>Framework of the HIV response in Rwand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787787" y="6493921"/>
            <a:ext cx="213819" cy="15549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E7CAAB8-2AA8-473C-8A42-160C44387ED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419099" y="1447799"/>
            <a:ext cx="8667751" cy="5046121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1524000" y="2286000"/>
            <a:ext cx="7263787" cy="3486150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3009900" y="2936796"/>
            <a:ext cx="5638800" cy="2435304"/>
          </a:xfrm>
          <a:prstGeom prst="ellipse">
            <a:avLst/>
          </a:prstGeom>
          <a:solidFill>
            <a:srgbClr val="66FF3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051720" y="1879876"/>
            <a:ext cx="1638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VISION 2020 towards 2050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28800" y="3309532"/>
            <a:ext cx="16383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EDPRS, now NSTP</a:t>
            </a:r>
          </a:p>
          <a:p>
            <a:endParaRPr lang="en-US" sz="2000" dirty="0"/>
          </a:p>
        </p:txBody>
      </p:sp>
      <p:sp>
        <p:nvSpPr>
          <p:cNvPr id="14" name="Oval 13"/>
          <p:cNvSpPr/>
          <p:nvPr/>
        </p:nvSpPr>
        <p:spPr>
          <a:xfrm>
            <a:off x="4981574" y="3506748"/>
            <a:ext cx="3533776" cy="1370052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86124" y="3808482"/>
            <a:ext cx="1638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HSSP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460692" y="3845968"/>
            <a:ext cx="31308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HIV NSP </a:t>
            </a:r>
          </a:p>
        </p:txBody>
      </p:sp>
    </p:spTree>
    <p:extLst>
      <p:ext uri="{BB962C8B-B14F-4D97-AF65-F5344CB8AC3E}">
        <p14:creationId xmlns:p14="http://schemas.microsoft.com/office/powerpoint/2010/main" val="7041535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340768"/>
            <a:ext cx="8191840" cy="5184576"/>
          </a:xfrm>
        </p:spPr>
        <p:txBody>
          <a:bodyPr>
            <a:noAutofit/>
          </a:bodyPr>
          <a:lstStyle/>
          <a:p>
            <a:pPr lvl="1">
              <a:lnSpc>
                <a:spcPct val="150000"/>
              </a:lnSpc>
              <a:buClr>
                <a:srgbClr val="00B050"/>
              </a:buClr>
              <a:buFont typeface="Wingdings" charset="2"/>
              <a:buChar char="u"/>
            </a:pPr>
            <a:r>
              <a:rPr lang="en-US" dirty="0">
                <a:latin typeface="+mj-lt"/>
                <a:cs typeface="Georgia"/>
              </a:rPr>
              <a:t>Sensitization  against stigma and discrimination and auto-stigmatization of people affected and infected by HIV</a:t>
            </a:r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charset="2"/>
              <a:buChar char="u"/>
            </a:pPr>
            <a:r>
              <a:rPr lang="en-US" dirty="0">
                <a:latin typeface="+mj-lt"/>
                <a:cs typeface="Georgia"/>
              </a:rPr>
              <a:t>Protection  of rights of people infected and affected by HIV especially at the workplace and in schools</a:t>
            </a:r>
          </a:p>
          <a:p>
            <a:pPr lvl="1">
              <a:lnSpc>
                <a:spcPct val="150000"/>
              </a:lnSpc>
              <a:buClr>
                <a:srgbClr val="00B0F0"/>
              </a:buClr>
              <a:buFont typeface="Wingdings" charset="2"/>
              <a:buChar char="u"/>
            </a:pPr>
            <a:r>
              <a:rPr lang="en-US" dirty="0">
                <a:latin typeface="+mj-lt"/>
                <a:cs typeface="Georgia"/>
              </a:rPr>
              <a:t>Provide gender-specific services targeted to young women and their particular vulnerabilities.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8568952" cy="648072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4472C4"/>
                </a:solidFill>
              </a:rPr>
              <a:t>Impact  Mitigation: decrease stigma and discrimination</a:t>
            </a:r>
          </a:p>
        </p:txBody>
      </p:sp>
      <p:sp>
        <p:nvSpPr>
          <p:cNvPr id="5" name="Rectangle 4"/>
          <p:cNvSpPr/>
          <p:nvPr>
            <p:custDataLst>
              <p:tags r:id="rId1"/>
            </p:custDataLst>
          </p:nvPr>
        </p:nvSpPr>
        <p:spPr>
          <a:xfrm>
            <a:off x="395536" y="3356992"/>
            <a:ext cx="8191840" cy="1872208"/>
          </a:xfrm>
          <a:prstGeom prst="rect">
            <a:avLst/>
          </a:prstGeom>
          <a:noFill/>
          <a:ln w="2222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9946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100138"/>
            <a:ext cx="8634164" cy="5757862"/>
          </a:xfrm>
        </p:spPr>
        <p:txBody>
          <a:bodyPr>
            <a:noAutofit/>
          </a:bodyPr>
          <a:lstStyle/>
          <a:p>
            <a:pPr lvl="1">
              <a:lnSpc>
                <a:spcPct val="150000"/>
              </a:lnSpc>
              <a:buClr>
                <a:srgbClr val="00B050"/>
              </a:buClr>
              <a:buFont typeface="Wingdings" charset="2"/>
              <a:buChar char="u"/>
            </a:pPr>
            <a:r>
              <a:rPr lang="en-US" dirty="0">
                <a:latin typeface="+mj-lt"/>
                <a:cs typeface="Georgia"/>
              </a:rPr>
              <a:t> HIV services in Rwanda are integrated and accessible to everyone free of charge</a:t>
            </a:r>
          </a:p>
          <a:p>
            <a:pPr marL="457200" lvl="1" indent="0">
              <a:lnSpc>
                <a:spcPct val="150000"/>
              </a:lnSpc>
              <a:buClr>
                <a:srgbClr val="00B050"/>
              </a:buClr>
              <a:buNone/>
            </a:pPr>
            <a:endParaRPr lang="en-US" dirty="0">
              <a:latin typeface="+mj-lt"/>
              <a:cs typeface="Georgia"/>
            </a:endParaRPr>
          </a:p>
          <a:p>
            <a:pPr lvl="1">
              <a:lnSpc>
                <a:spcPct val="150000"/>
              </a:lnSpc>
              <a:buClr>
                <a:srgbClr val="FFC000"/>
              </a:buClr>
              <a:buFont typeface="Wingdings" charset="2"/>
              <a:buChar char="u"/>
            </a:pPr>
            <a:r>
              <a:rPr lang="en-US" dirty="0">
                <a:latin typeface="+mj-lt"/>
                <a:cs typeface="Georgia"/>
              </a:rPr>
              <a:t> HIV program work closely with Private sector   federation to ensure HIV services at work stations</a:t>
            </a:r>
          </a:p>
          <a:p>
            <a:pPr marL="457200" lvl="1" indent="0">
              <a:lnSpc>
                <a:spcPct val="150000"/>
              </a:lnSpc>
              <a:buClr>
                <a:srgbClr val="FFC000"/>
              </a:buClr>
              <a:buNone/>
            </a:pPr>
            <a:endParaRPr lang="en-US" dirty="0">
              <a:latin typeface="+mj-lt"/>
              <a:cs typeface="Georgia"/>
            </a:endParaRPr>
          </a:p>
          <a:p>
            <a:pPr lvl="1">
              <a:lnSpc>
                <a:spcPct val="150000"/>
              </a:lnSpc>
              <a:buClr>
                <a:srgbClr val="00B0F0"/>
              </a:buClr>
              <a:buFont typeface="Wingdings" charset="2"/>
              <a:buChar char="u"/>
            </a:pPr>
            <a:r>
              <a:rPr lang="en-US" dirty="0">
                <a:latin typeface="+mj-lt"/>
                <a:cs typeface="Georgia"/>
              </a:rPr>
              <a:t> HIV status should not be a condition to get a job or other form of privilege deprivation in Rwanda </a:t>
            </a:r>
          </a:p>
          <a:p>
            <a:pPr marL="457200" lvl="1" indent="0">
              <a:lnSpc>
                <a:spcPct val="150000"/>
              </a:lnSpc>
              <a:buNone/>
            </a:pPr>
            <a:r>
              <a:rPr lang="en-US" dirty="0">
                <a:latin typeface="+mj-lt"/>
                <a:cs typeface="Georgia"/>
              </a:rPr>
              <a:t>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8568952" cy="648072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4472C4"/>
                </a:solidFill>
              </a:rPr>
              <a:t>HIV interventions at working places</a:t>
            </a:r>
          </a:p>
        </p:txBody>
      </p:sp>
    </p:spTree>
    <p:extLst>
      <p:ext uri="{BB962C8B-B14F-4D97-AF65-F5344CB8AC3E}">
        <p14:creationId xmlns:p14="http://schemas.microsoft.com/office/powerpoint/2010/main" val="28399432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Sedentary Lifestyle</a:t>
            </a:r>
            <a:br>
              <a:rPr lang="en-US" b="1" dirty="0"/>
            </a:br>
            <a:r>
              <a:rPr lang="en-US" sz="3600" b="1" dirty="0"/>
              <a:t>(silent killer)</a:t>
            </a:r>
            <a:endParaRPr lang="en-US" sz="3600" dirty="0"/>
          </a:p>
        </p:txBody>
      </p:sp>
      <p:pic>
        <p:nvPicPr>
          <p:cNvPr id="6" name="Picture 2" descr="African American businessman using laptop">
            <a:extLst>
              <a:ext uri="{FF2B5EF4-FFF2-40B4-BE49-F238E27FC236}">
                <a16:creationId xmlns:a16="http://schemas.microsoft.com/office/drawing/2014/main" id="{88D6095B-9094-6043-9013-C0A7D7E6BB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4000" y="3914043"/>
            <a:ext cx="3456000" cy="230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8503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0000"/>
                </a:solidFill>
              </a:rPr>
              <a:t>Sedentary Lifestyle ( Definition)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594" y="2106414"/>
            <a:ext cx="6539023" cy="149142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650" dirty="0"/>
              <a:t>sitting or lying down (except when sleeping)</a:t>
            </a:r>
            <a:r>
              <a:rPr lang="en-US" sz="1650" baseline="30000" dirty="0"/>
              <a:t>1</a:t>
            </a:r>
            <a:r>
              <a:rPr lang="en-US" sz="1650" dirty="0"/>
              <a:t>. </a:t>
            </a:r>
            <a:br>
              <a:rPr lang="en-US" sz="1650" dirty="0"/>
            </a:br>
            <a:r>
              <a:rPr lang="en-US" sz="1200" dirty="0" err="1"/>
              <a:t>i.e</a:t>
            </a:r>
            <a:r>
              <a:rPr lang="en-US" sz="1200" dirty="0"/>
              <a:t> spend large amounts at school, at work, readying, using a mobile phone/computer </a:t>
            </a:r>
            <a:br>
              <a:rPr lang="en-US" sz="1200" dirty="0"/>
            </a:br>
            <a:r>
              <a:rPr lang="en-US" sz="1200" dirty="0"/>
              <a:t>for much of the day, travelling or during leisure time (</a:t>
            </a:r>
            <a:r>
              <a:rPr lang="en-US" sz="1200" dirty="0" err="1"/>
              <a:t>eg</a:t>
            </a:r>
            <a:r>
              <a:rPr lang="en-US" sz="1200" dirty="0"/>
              <a:t>. watching TV). </a:t>
            </a:r>
          </a:p>
          <a:p>
            <a:pPr>
              <a:lnSpc>
                <a:spcPct val="150000"/>
              </a:lnSpc>
            </a:pPr>
            <a:r>
              <a:rPr lang="en-US" sz="1500" dirty="0"/>
              <a:t>Linked to negative health consequences</a:t>
            </a:r>
            <a:r>
              <a:rPr lang="en-US" sz="1500" baseline="30000" dirty="0"/>
              <a:t>2</a:t>
            </a:r>
            <a:r>
              <a:rPr lang="en-US" sz="1500" dirty="0"/>
              <a:t> (causing premature death) </a:t>
            </a:r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4006606" y="1854053"/>
            <a:ext cx="5137394" cy="0"/>
          </a:xfrm>
          <a:prstGeom prst="line">
            <a:avLst/>
          </a:prstGeom>
          <a:ln w="762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84886" y="5435121"/>
            <a:ext cx="5989140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25" baseline="30000" dirty="0"/>
              <a:t>1</a:t>
            </a:r>
            <a:r>
              <a:rPr lang="en-US" sz="825" dirty="0"/>
              <a:t> Sedentary-</a:t>
            </a:r>
            <a:r>
              <a:rPr lang="en-US" sz="825" dirty="0" err="1"/>
              <a:t>behaviour</a:t>
            </a:r>
            <a:r>
              <a:rPr lang="en-US" sz="825" dirty="0"/>
              <a:t>, available on http://www.sedentarybehaviour.org/what-is-sedentary-behaviour/ [Online accessible 23.05.2017]</a:t>
            </a:r>
          </a:p>
        </p:txBody>
      </p:sp>
      <p:pic>
        <p:nvPicPr>
          <p:cNvPr id="1028" name="Picture 4" descr="Image result for Sedentary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88"/>
          <a:stretch/>
        </p:blipFill>
        <p:spPr bwMode="auto">
          <a:xfrm>
            <a:off x="6130613" y="1926079"/>
            <a:ext cx="2999145" cy="1893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/>
        </p:nvCxnSpPr>
        <p:spPr>
          <a:xfrm>
            <a:off x="0" y="5361089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76911" y="5793001"/>
            <a:ext cx="6085429" cy="213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88" baseline="30000" dirty="0"/>
              <a:t>3</a:t>
            </a:r>
            <a:r>
              <a:rPr lang="en-US" sz="788" dirty="0"/>
              <a:t>Arch Intern Med. 2012 Mar 26;172(6):500-1. </a:t>
            </a:r>
            <a:r>
              <a:rPr lang="en-US" sz="788" dirty="0" err="1"/>
              <a:t>doi</a:t>
            </a:r>
            <a:r>
              <a:rPr lang="en-US" sz="788" dirty="0"/>
              <a:t>: 10.1001/archinternmed.2012.209. [Online accessible 23.05.2017]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9568" y="5613219"/>
            <a:ext cx="5877323" cy="2135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88" baseline="30000" dirty="0"/>
              <a:t>2</a:t>
            </a:r>
            <a:r>
              <a:rPr lang="sv-SE" sz="788" dirty="0"/>
              <a:t> Ann Intern Med. 2015;162(2):123-132. DOI: 10.7326/M14-1651</a:t>
            </a:r>
            <a:r>
              <a:rPr lang="en-US" sz="788" dirty="0"/>
              <a:t>] [Online accessible 23.05.2017]</a:t>
            </a: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438594" y="3597837"/>
            <a:ext cx="6539023" cy="1511123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500" dirty="0"/>
              <a:t>Evidence</a:t>
            </a:r>
            <a:r>
              <a:rPr lang="en-US" sz="1500" baseline="30000" dirty="0"/>
              <a:t>3</a:t>
            </a:r>
            <a:r>
              <a:rPr lang="en-US" sz="1500" dirty="0"/>
              <a:t> </a:t>
            </a:r>
            <a:br>
              <a:rPr lang="en-US" sz="1500" dirty="0"/>
            </a:br>
            <a:r>
              <a:rPr lang="en-US" sz="1500" dirty="0" err="1"/>
              <a:t>Ppl</a:t>
            </a:r>
            <a:r>
              <a:rPr lang="en-US" sz="1500" dirty="0"/>
              <a:t> sitting </a:t>
            </a:r>
            <a:r>
              <a:rPr lang="en-US" sz="1500" b="1" dirty="0"/>
              <a:t>more than 11hrs/day</a:t>
            </a:r>
            <a:r>
              <a:rPr lang="en-US" sz="1500" dirty="0"/>
              <a:t> have </a:t>
            </a:r>
            <a:r>
              <a:rPr lang="en-US" sz="1500" b="1" dirty="0"/>
              <a:t>40%</a:t>
            </a:r>
            <a:r>
              <a:rPr lang="en-US" sz="1500" dirty="0"/>
              <a:t> increased risk of dying within 3 </a:t>
            </a:r>
            <a:r>
              <a:rPr lang="en-US" sz="1500" dirty="0" err="1"/>
              <a:t>yrs</a:t>
            </a:r>
            <a:r>
              <a:rPr lang="en-US" sz="1500" dirty="0"/>
              <a:t>, compared with those who sitting for fewer than 4hrs/day.</a:t>
            </a:r>
            <a:br>
              <a:rPr lang="en-US" sz="1500" dirty="0"/>
            </a:br>
            <a:r>
              <a:rPr lang="en-US" sz="1500" dirty="0" err="1"/>
              <a:t>Ppl</a:t>
            </a:r>
            <a:r>
              <a:rPr lang="en-US" sz="1500" dirty="0"/>
              <a:t> sitting for </a:t>
            </a:r>
            <a:r>
              <a:rPr lang="en-US" sz="1500" b="1" dirty="0"/>
              <a:t>8-11 </a:t>
            </a:r>
            <a:r>
              <a:rPr lang="en-US" sz="1500" b="1" dirty="0" err="1"/>
              <a:t>hrs</a:t>
            </a:r>
            <a:r>
              <a:rPr lang="en-US" sz="1500" b="1" dirty="0"/>
              <a:t>/day </a:t>
            </a:r>
            <a:r>
              <a:rPr lang="en-US" sz="1500" dirty="0"/>
              <a:t>increased their risk of dying by </a:t>
            </a:r>
            <a:r>
              <a:rPr lang="en-US" sz="1500" b="1" dirty="0"/>
              <a:t>15%</a:t>
            </a:r>
            <a:r>
              <a:rPr lang="en-US" sz="1500" dirty="0"/>
              <a:t>. </a:t>
            </a:r>
            <a:endParaRPr lang="en-US" sz="1650" dirty="0"/>
          </a:p>
        </p:txBody>
      </p:sp>
    </p:spTree>
    <p:extLst>
      <p:ext uri="{BB962C8B-B14F-4D97-AF65-F5344CB8AC3E}">
        <p14:creationId xmlns:p14="http://schemas.microsoft.com/office/powerpoint/2010/main" val="1457964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3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Sedentary Lifestyle (Consequence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593" y="2106414"/>
            <a:ext cx="8484782" cy="123469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sz="1800" dirty="0"/>
              <a:t>Strong evidence</a:t>
            </a:r>
            <a:r>
              <a:rPr lang="en-US" sz="1800" baseline="30000" dirty="0"/>
              <a:t>1</a:t>
            </a:r>
            <a:r>
              <a:rPr lang="en-US" sz="1800" dirty="0"/>
              <a:t> show sedentary lifestyle and lack of physical activity is a risk factor</a:t>
            </a:r>
            <a:br>
              <a:rPr lang="en-US" sz="1800" dirty="0"/>
            </a:br>
            <a:r>
              <a:rPr lang="en-US" sz="1800" dirty="0"/>
              <a:t> for NCDs:</a:t>
            </a:r>
            <a:endParaRPr lang="en-US" sz="1650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4003158" y="1829462"/>
            <a:ext cx="5140842" cy="7976"/>
          </a:xfrm>
          <a:prstGeom prst="line">
            <a:avLst/>
          </a:prstGeom>
          <a:ln w="762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Image result for Sedentary Behaviour definition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317" y="3764188"/>
            <a:ext cx="2686742" cy="1674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103492" y="5439167"/>
            <a:ext cx="6116555" cy="334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88" baseline="30000" dirty="0"/>
              <a:t>1</a:t>
            </a:r>
            <a:r>
              <a:rPr lang="en-US" sz="788" dirty="0"/>
              <a:t>Biswas et al. Sedentary Time and Its Association With Risk for Disease Incidence, Mortality, and Hospitalization in Adults: </a:t>
            </a:r>
            <a:br>
              <a:rPr lang="en-US" sz="788" dirty="0"/>
            </a:br>
            <a:r>
              <a:rPr lang="en-US" sz="788" dirty="0"/>
              <a:t>A Systematic Review and Meta-analysis, </a:t>
            </a:r>
            <a:r>
              <a:rPr lang="sv-SE" sz="788" dirty="0"/>
              <a:t>Ann Intern Med. 2015;162(2):123-132. DOI: 10.7326/M14-1651</a:t>
            </a:r>
            <a:r>
              <a:rPr lang="en-US" sz="788" dirty="0"/>
              <a:t>] [Online accessible 23.05.2017]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5361089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1770481" y="2585229"/>
            <a:ext cx="248137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400" dirty="0"/>
              <a:t>Diabetes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400" dirty="0"/>
              <a:t>Heart diseas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400" dirty="0"/>
              <a:t>Cancer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38594" y="4039425"/>
            <a:ext cx="64991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You burn 30% more calories when standing than when sitting</a:t>
            </a:r>
          </a:p>
        </p:txBody>
      </p:sp>
      <p:pic>
        <p:nvPicPr>
          <p:cNvPr id="1030" name="Picture 6" descr="Image result for non communicable diseas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5880" y="2695068"/>
            <a:ext cx="2571750" cy="1450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6006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24 hours circl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474" b="10997"/>
          <a:stretch/>
        </p:blipFill>
        <p:spPr bwMode="auto">
          <a:xfrm>
            <a:off x="2441449" y="1212567"/>
            <a:ext cx="3943350" cy="3889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794111" y="2599171"/>
            <a:ext cx="119507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Bath, Breakfast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703358" y="1026153"/>
            <a:ext cx="684152" cy="898445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261" y="971288"/>
            <a:ext cx="661286" cy="66651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79690" y="3310114"/>
            <a:ext cx="826643" cy="393070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6717044" y="3179651"/>
            <a:ext cx="1302138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Home to school, </a:t>
            </a:r>
            <a:br>
              <a:rPr lang="en-US" sz="1350" dirty="0"/>
            </a:br>
            <a:r>
              <a:rPr lang="en-US" sz="1350" dirty="0"/>
              <a:t>going to work 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4752498" y="4978180"/>
            <a:ext cx="134684" cy="85842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5129402" y="1027545"/>
            <a:ext cx="184148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dirty="0"/>
              <a:t>Sleeping 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586382" y="4978180"/>
            <a:ext cx="119507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Meetings 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455535" y="4308882"/>
            <a:ext cx="837566" cy="858742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1557" y="5195218"/>
            <a:ext cx="1172180" cy="780690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>
          <a:xfrm flipH="1">
            <a:off x="3678961" y="4874617"/>
            <a:ext cx="236591" cy="96012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875" y="4492749"/>
            <a:ext cx="902057" cy="858742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1004145" y="3607474"/>
            <a:ext cx="173088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School to home </a:t>
            </a:r>
          </a:p>
          <a:p>
            <a:r>
              <a:rPr lang="en-US" sz="1350" dirty="0"/>
              <a:t>Leaving from work </a:t>
            </a:r>
          </a:p>
        </p:txBody>
      </p:sp>
      <p:cxnSp>
        <p:nvCxnSpPr>
          <p:cNvPr id="43" name="Straight Connector 42"/>
          <p:cNvCxnSpPr/>
          <p:nvPr/>
        </p:nvCxnSpPr>
        <p:spPr>
          <a:xfrm flipH="1">
            <a:off x="76800" y="3541228"/>
            <a:ext cx="246888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752329" y="1430428"/>
            <a:ext cx="181196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Phone/TV and family </a:t>
            </a:r>
          </a:p>
        </p:txBody>
      </p:sp>
      <p:sp>
        <p:nvSpPr>
          <p:cNvPr id="47" name="Rectangle 46"/>
          <p:cNvSpPr/>
          <p:nvPr/>
        </p:nvSpPr>
        <p:spPr>
          <a:xfrm>
            <a:off x="802699" y="3264229"/>
            <a:ext cx="241535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Phone/TV and family </a:t>
            </a:r>
          </a:p>
        </p:txBody>
      </p:sp>
      <p:sp>
        <p:nvSpPr>
          <p:cNvPr id="48" name="Rectangle 47"/>
          <p:cNvSpPr/>
          <p:nvPr/>
        </p:nvSpPr>
        <p:spPr>
          <a:xfrm>
            <a:off x="73604" y="2081212"/>
            <a:ext cx="999362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Dinner </a:t>
            </a:r>
          </a:p>
        </p:txBody>
      </p:sp>
      <p:pic>
        <p:nvPicPr>
          <p:cNvPr id="1033" name="Picture 103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65" t="14255" r="7927" b="23677"/>
          <a:stretch/>
        </p:blipFill>
        <p:spPr>
          <a:xfrm>
            <a:off x="1729555" y="1707427"/>
            <a:ext cx="884051" cy="687086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65" t="14255" r="7927" b="23677"/>
          <a:stretch/>
        </p:blipFill>
        <p:spPr>
          <a:xfrm>
            <a:off x="1653673" y="2600569"/>
            <a:ext cx="884051" cy="687086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03" y="3592957"/>
            <a:ext cx="817751" cy="393070"/>
          </a:xfrm>
          <a:prstGeom prst="rect">
            <a:avLst/>
          </a:prstGeom>
        </p:spPr>
      </p:pic>
      <p:pic>
        <p:nvPicPr>
          <p:cNvPr id="1034" name="Picture 1033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402" y="2326396"/>
            <a:ext cx="996323" cy="821901"/>
          </a:xfrm>
          <a:prstGeom prst="rect">
            <a:avLst/>
          </a:prstGeom>
        </p:spPr>
      </p:pic>
      <p:pic>
        <p:nvPicPr>
          <p:cNvPr id="1036" name="Picture 103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34161" y="2242638"/>
            <a:ext cx="673988" cy="626788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44923" y="5195218"/>
            <a:ext cx="673988" cy="626788"/>
          </a:xfrm>
          <a:prstGeom prst="rect">
            <a:avLst/>
          </a:prstGeom>
        </p:spPr>
      </p:pic>
      <p:sp>
        <p:nvSpPr>
          <p:cNvPr id="58" name="Rectangle 57"/>
          <p:cNvSpPr/>
          <p:nvPr/>
        </p:nvSpPr>
        <p:spPr>
          <a:xfrm>
            <a:off x="6566621" y="4267137"/>
            <a:ext cx="119507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Office work</a:t>
            </a:r>
          </a:p>
        </p:txBody>
      </p:sp>
      <p:sp>
        <p:nvSpPr>
          <p:cNvPr id="59" name="Rectangle 58"/>
          <p:cNvSpPr/>
          <p:nvPr/>
        </p:nvSpPr>
        <p:spPr>
          <a:xfrm>
            <a:off x="1498162" y="4446175"/>
            <a:ext cx="119507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Office work</a:t>
            </a:r>
          </a:p>
        </p:txBody>
      </p:sp>
      <p:cxnSp>
        <p:nvCxnSpPr>
          <p:cNvPr id="33" name="Straight Connector 32"/>
          <p:cNvCxnSpPr/>
          <p:nvPr/>
        </p:nvCxnSpPr>
        <p:spPr>
          <a:xfrm flipH="1">
            <a:off x="301403" y="3994779"/>
            <a:ext cx="2391830" cy="6282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H="1">
            <a:off x="6079325" y="2043714"/>
            <a:ext cx="2391830" cy="628205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H="1">
            <a:off x="6187044" y="2994188"/>
            <a:ext cx="2788438" cy="11842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H="1" flipV="1">
            <a:off x="6183918" y="3588153"/>
            <a:ext cx="2409094" cy="67898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3583072" y="3053398"/>
            <a:ext cx="1706526" cy="50783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  <a:tint val="66000"/>
                  <a:satMod val="160000"/>
                </a:schemeClr>
              </a:gs>
              <a:gs pos="50000">
                <a:schemeClr val="bg1">
                  <a:lumMod val="65000"/>
                  <a:tint val="44500"/>
                  <a:satMod val="160000"/>
                </a:schemeClr>
              </a:gs>
              <a:gs pos="100000">
                <a:schemeClr val="bg1">
                  <a:lumMod val="65000"/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solidFill>
                  <a:srgbClr val="FF0000"/>
                </a:solidFill>
              </a:rPr>
              <a:t>24 hour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86178" y="4451757"/>
            <a:ext cx="83086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5 </a:t>
            </a:r>
            <a:r>
              <a:rPr lang="en-US" sz="1350" b="1" dirty="0" err="1">
                <a:solidFill>
                  <a:srgbClr val="FF0000"/>
                </a:solidFill>
              </a:rPr>
              <a:t>hrs</a:t>
            </a:r>
            <a:endParaRPr lang="en-US" sz="1350" b="1" dirty="0">
              <a:solidFill>
                <a:srgbClr val="FF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015773" y="4890624"/>
            <a:ext cx="5954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1hr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472995" y="4621834"/>
            <a:ext cx="5954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4hr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266555" y="3640825"/>
            <a:ext cx="5954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1hr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063002" y="2382800"/>
            <a:ext cx="5954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4 </a:t>
            </a:r>
            <a:r>
              <a:rPr lang="en-US" sz="1350" b="1" dirty="0" err="1">
                <a:solidFill>
                  <a:srgbClr val="FF0000"/>
                </a:solidFill>
              </a:rPr>
              <a:t>hr</a:t>
            </a:r>
            <a:endParaRPr lang="en-US" sz="1350" b="1" dirty="0">
              <a:solidFill>
                <a:srgbClr val="FF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057290" y="2750440"/>
            <a:ext cx="73682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</a:t>
            </a:r>
            <a:r>
              <a:rPr lang="en-US" sz="1050" b="1" dirty="0">
                <a:solidFill>
                  <a:srgbClr val="FF0000"/>
                </a:solidFill>
              </a:rPr>
              <a:t>1/2</a:t>
            </a:r>
            <a:r>
              <a:rPr lang="en-US" sz="1350" b="1" dirty="0">
                <a:solidFill>
                  <a:srgbClr val="FF0000"/>
                </a:solidFill>
              </a:rPr>
              <a:t>hr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120454" y="3229094"/>
            <a:ext cx="5954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1hr</a:t>
            </a: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5359" y="5063833"/>
            <a:ext cx="1172180" cy="780690"/>
          </a:xfrm>
          <a:prstGeom prst="rect">
            <a:avLst/>
          </a:prstGeom>
        </p:spPr>
      </p:pic>
      <p:sp>
        <p:nvSpPr>
          <p:cNvPr id="64" name="Rectangle 63"/>
          <p:cNvSpPr/>
          <p:nvPr/>
        </p:nvSpPr>
        <p:spPr>
          <a:xfrm>
            <a:off x="7581262" y="1756643"/>
            <a:ext cx="1841486" cy="30008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350" dirty="0"/>
              <a:t>Wake up  </a:t>
            </a:r>
          </a:p>
        </p:txBody>
      </p:sp>
      <p:sp>
        <p:nvSpPr>
          <p:cNvPr id="65" name="Rectangle 64"/>
          <p:cNvSpPr/>
          <p:nvPr/>
        </p:nvSpPr>
        <p:spPr>
          <a:xfrm>
            <a:off x="1293883" y="865724"/>
            <a:ext cx="1841486" cy="300082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350" dirty="0"/>
              <a:t>Bedtime </a:t>
            </a:r>
          </a:p>
        </p:txBody>
      </p:sp>
    </p:spTree>
    <p:extLst>
      <p:ext uri="{BB962C8B-B14F-4D97-AF65-F5344CB8AC3E}">
        <p14:creationId xmlns:p14="http://schemas.microsoft.com/office/powerpoint/2010/main" val="15628227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24 hours circl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474" b="10997"/>
          <a:stretch/>
        </p:blipFill>
        <p:spPr bwMode="auto">
          <a:xfrm>
            <a:off x="2441449" y="1212567"/>
            <a:ext cx="3943350" cy="3889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6794111" y="2599171"/>
            <a:ext cx="119507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Bath, Breakfast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703358" y="1026153"/>
            <a:ext cx="684152" cy="89844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974" y="1010912"/>
            <a:ext cx="666512" cy="66651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4944" y="3061134"/>
            <a:ext cx="826643" cy="393070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6717044" y="3179651"/>
            <a:ext cx="1302138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Home to school, </a:t>
            </a:r>
            <a:br>
              <a:rPr lang="en-US" sz="1350" dirty="0"/>
            </a:br>
            <a:r>
              <a:rPr lang="en-US" sz="1350" dirty="0"/>
              <a:t>going to work 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4752498" y="4978180"/>
            <a:ext cx="134684" cy="85842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5129402" y="1027545"/>
            <a:ext cx="119507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Sleeping 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306500" y="4874617"/>
            <a:ext cx="119507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Meetings 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128842" y="4103245"/>
            <a:ext cx="837566" cy="858742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8162" y="5105700"/>
            <a:ext cx="1172180" cy="780690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>
          <a:xfrm flipH="1">
            <a:off x="3678961" y="4874617"/>
            <a:ext cx="236591" cy="96012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979" y="4281621"/>
            <a:ext cx="902057" cy="858742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1169339" y="3561479"/>
            <a:ext cx="150732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School to home </a:t>
            </a:r>
          </a:p>
          <a:p>
            <a:r>
              <a:rPr lang="en-US" sz="1350" dirty="0"/>
              <a:t>Leaving from work </a:t>
            </a:r>
          </a:p>
        </p:txBody>
      </p:sp>
      <p:cxnSp>
        <p:nvCxnSpPr>
          <p:cNvPr id="43" name="Straight Connector 42"/>
          <p:cNvCxnSpPr/>
          <p:nvPr/>
        </p:nvCxnSpPr>
        <p:spPr>
          <a:xfrm flipH="1">
            <a:off x="76800" y="3541228"/>
            <a:ext cx="2468880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752329" y="1430428"/>
            <a:ext cx="1811966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Phone/TV and family </a:t>
            </a:r>
          </a:p>
        </p:txBody>
      </p:sp>
      <p:sp>
        <p:nvSpPr>
          <p:cNvPr id="47" name="Rectangle 46"/>
          <p:cNvSpPr/>
          <p:nvPr/>
        </p:nvSpPr>
        <p:spPr>
          <a:xfrm>
            <a:off x="802699" y="3264229"/>
            <a:ext cx="241535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strike="sngStrike" dirty="0"/>
              <a:t>Phone/TV and family 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02634" y="1786098"/>
            <a:ext cx="999362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Dinner </a:t>
            </a:r>
          </a:p>
        </p:txBody>
      </p:sp>
      <p:pic>
        <p:nvPicPr>
          <p:cNvPr id="1033" name="Picture 103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65" t="14255" r="7927" b="23677"/>
          <a:stretch/>
        </p:blipFill>
        <p:spPr>
          <a:xfrm>
            <a:off x="1729555" y="1707427"/>
            <a:ext cx="884051" cy="687086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61" y="3521880"/>
            <a:ext cx="817751" cy="393070"/>
          </a:xfrm>
          <a:prstGeom prst="rect">
            <a:avLst/>
          </a:prstGeom>
        </p:spPr>
      </p:pic>
      <p:pic>
        <p:nvPicPr>
          <p:cNvPr id="1034" name="Picture 1033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895" y="2054498"/>
            <a:ext cx="996323" cy="821901"/>
          </a:xfrm>
          <a:prstGeom prst="rect">
            <a:avLst/>
          </a:prstGeom>
        </p:spPr>
      </p:pic>
      <p:pic>
        <p:nvPicPr>
          <p:cNvPr id="1036" name="Picture 103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34161" y="2242638"/>
            <a:ext cx="673988" cy="626788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44923" y="5195218"/>
            <a:ext cx="673988" cy="626788"/>
          </a:xfrm>
          <a:prstGeom prst="rect">
            <a:avLst/>
          </a:prstGeom>
        </p:spPr>
      </p:pic>
      <p:sp>
        <p:nvSpPr>
          <p:cNvPr id="58" name="Rectangle 57"/>
          <p:cNvSpPr/>
          <p:nvPr/>
        </p:nvSpPr>
        <p:spPr>
          <a:xfrm>
            <a:off x="6177152" y="4058271"/>
            <a:ext cx="119507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Office work</a:t>
            </a:r>
          </a:p>
        </p:txBody>
      </p:sp>
      <p:sp>
        <p:nvSpPr>
          <p:cNvPr id="59" name="Rectangle 58"/>
          <p:cNvSpPr/>
          <p:nvPr/>
        </p:nvSpPr>
        <p:spPr>
          <a:xfrm>
            <a:off x="1825060" y="4253648"/>
            <a:ext cx="1195071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Office work</a:t>
            </a:r>
          </a:p>
        </p:txBody>
      </p:sp>
      <p:cxnSp>
        <p:nvCxnSpPr>
          <p:cNvPr id="33" name="Straight Connector 32"/>
          <p:cNvCxnSpPr/>
          <p:nvPr/>
        </p:nvCxnSpPr>
        <p:spPr>
          <a:xfrm flipH="1">
            <a:off x="301403" y="3994779"/>
            <a:ext cx="2391830" cy="6282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H="1">
            <a:off x="6079325" y="2043714"/>
            <a:ext cx="2391830" cy="6282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H="1">
            <a:off x="6187044" y="2994188"/>
            <a:ext cx="2788438" cy="11842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H="1" flipV="1">
            <a:off x="6183918" y="3588153"/>
            <a:ext cx="2409094" cy="67898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3583072" y="3053398"/>
            <a:ext cx="1706526" cy="50783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5000"/>
                  <a:tint val="66000"/>
                  <a:satMod val="160000"/>
                </a:schemeClr>
              </a:gs>
              <a:gs pos="50000">
                <a:schemeClr val="bg1">
                  <a:lumMod val="65000"/>
                  <a:tint val="44500"/>
                  <a:satMod val="160000"/>
                </a:schemeClr>
              </a:gs>
              <a:gs pos="100000">
                <a:schemeClr val="bg1">
                  <a:lumMod val="65000"/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solidFill>
                  <a:srgbClr val="FF0000"/>
                </a:solidFill>
              </a:rPr>
              <a:t>24 hours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86178" y="4451757"/>
            <a:ext cx="83086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5 </a:t>
            </a:r>
            <a:r>
              <a:rPr lang="en-US" sz="1350" b="1" dirty="0" err="1">
                <a:solidFill>
                  <a:srgbClr val="FF0000"/>
                </a:solidFill>
              </a:rPr>
              <a:t>hrs</a:t>
            </a:r>
            <a:endParaRPr lang="en-US" sz="1350" b="1" dirty="0">
              <a:solidFill>
                <a:srgbClr val="FF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015773" y="4890624"/>
            <a:ext cx="5954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1hr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661598" y="4630244"/>
            <a:ext cx="5954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4hr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266555" y="3640825"/>
            <a:ext cx="5954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1hr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063002" y="2382800"/>
            <a:ext cx="5954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4 </a:t>
            </a:r>
            <a:r>
              <a:rPr lang="en-US" sz="1350" b="1" dirty="0" err="1">
                <a:solidFill>
                  <a:srgbClr val="FF0000"/>
                </a:solidFill>
              </a:rPr>
              <a:t>hr</a:t>
            </a:r>
            <a:endParaRPr lang="en-US" sz="1350" b="1" dirty="0">
              <a:solidFill>
                <a:srgbClr val="FF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057290" y="2750440"/>
            <a:ext cx="73682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</a:t>
            </a:r>
            <a:r>
              <a:rPr lang="en-US" sz="1050" b="1" dirty="0">
                <a:solidFill>
                  <a:srgbClr val="FF0000"/>
                </a:solidFill>
              </a:rPr>
              <a:t>1/2</a:t>
            </a:r>
            <a:r>
              <a:rPr lang="en-US" sz="1350" b="1" dirty="0">
                <a:solidFill>
                  <a:srgbClr val="FF0000"/>
                </a:solidFill>
              </a:rPr>
              <a:t>hr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120454" y="3229094"/>
            <a:ext cx="59548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50" b="1" dirty="0">
                <a:solidFill>
                  <a:srgbClr val="FF0000"/>
                </a:solidFill>
              </a:rPr>
              <a:t>≈ 1hr</a:t>
            </a:r>
          </a:p>
        </p:txBody>
      </p:sp>
      <p:pic>
        <p:nvPicPr>
          <p:cNvPr id="3074" name="Picture 2" descr="Image result for walking person carto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231596" y="1221489"/>
            <a:ext cx="669209" cy="907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Image result for walking person carto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888728" y="5167468"/>
            <a:ext cx="539999" cy="732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Image result for walking person carto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248177" y="5090071"/>
            <a:ext cx="565364" cy="766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Image result for walking person carto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12" y="3764977"/>
            <a:ext cx="554168" cy="819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 descr="Image result for walking person carto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470697" y="3471472"/>
            <a:ext cx="619170" cy="807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6767" y="4846733"/>
            <a:ext cx="1172180" cy="780690"/>
          </a:xfrm>
          <a:prstGeom prst="rect">
            <a:avLst/>
          </a:prstGeom>
        </p:spPr>
      </p:pic>
      <p:pic>
        <p:nvPicPr>
          <p:cNvPr id="4098" name="Picture 2" descr="Image result for standing desk officecartoon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39" t="16956" r="17673" b="15398"/>
          <a:stretch/>
        </p:blipFill>
        <p:spPr bwMode="auto">
          <a:xfrm flipH="1">
            <a:off x="8168457" y="4509197"/>
            <a:ext cx="807025" cy="861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/>
          <p:cNvCxnSpPr/>
          <p:nvPr/>
        </p:nvCxnSpPr>
        <p:spPr>
          <a:xfrm flipH="1">
            <a:off x="8080127" y="3295771"/>
            <a:ext cx="951940" cy="574814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 flipH="1">
            <a:off x="7704884" y="4219784"/>
            <a:ext cx="773681" cy="882389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 flipH="1">
            <a:off x="6614783" y="5092354"/>
            <a:ext cx="773681" cy="882389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 descr="Image result for standing desk officecartoon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5239" y="5414495"/>
            <a:ext cx="964886" cy="512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6" name="Straight Connector 65"/>
          <p:cNvCxnSpPr/>
          <p:nvPr/>
        </p:nvCxnSpPr>
        <p:spPr>
          <a:xfrm>
            <a:off x="771966" y="4650956"/>
            <a:ext cx="595898" cy="791814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2" descr="Image result for standing desk officecartoon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39" t="16956" r="17673" b="15398"/>
          <a:stretch/>
        </p:blipFill>
        <p:spPr bwMode="auto">
          <a:xfrm>
            <a:off x="205111" y="4846733"/>
            <a:ext cx="761938" cy="861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4" descr="Image result for standing desk officecartoon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5006" y="5496046"/>
            <a:ext cx="964886" cy="512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9" name="Straight Connector 68"/>
          <p:cNvCxnSpPr/>
          <p:nvPr/>
        </p:nvCxnSpPr>
        <p:spPr>
          <a:xfrm>
            <a:off x="1930954" y="5043953"/>
            <a:ext cx="595898" cy="791814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322970" y="3626540"/>
            <a:ext cx="578180" cy="604793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2" name="Picture 6" descr="Image result for Sport running"/>
          <p:cNvPicPr>
            <a:picLocks noChangeAspect="1" noChangeArrowheads="1" noCrop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865" y="2734367"/>
            <a:ext cx="1920543" cy="59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90672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226469"/>
            <a:ext cx="7146408" cy="1158672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50000"/>
              </a:lnSpc>
            </a:pPr>
            <a:r>
              <a:rPr lang="en-US" dirty="0"/>
              <a:t>Tips for sitting less, </a:t>
            </a:r>
            <a:br>
              <a:rPr lang="en-US" dirty="0"/>
            </a:br>
            <a:r>
              <a:rPr lang="en-US" sz="1500" dirty="0"/>
              <a:t>such as standing or moving around for 1- 3 min every half hour while you’re at work</a:t>
            </a:r>
            <a:r>
              <a:rPr lang="en-US" dirty="0"/>
              <a:t> </a:t>
            </a:r>
          </a:p>
          <a:p>
            <a:pPr marL="0" indent="0">
              <a:lnSpc>
                <a:spcPct val="150000"/>
              </a:lnSpc>
              <a:buNone/>
            </a:pP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742950" y="1108651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dirty="0">
                <a:solidFill>
                  <a:srgbClr val="FF0000"/>
                </a:solidFill>
              </a:rPr>
              <a:t>Sedentary Lifestyle (management </a:t>
            </a:r>
            <a:r>
              <a:rPr lang="en-US" sz="3300" b="1">
                <a:solidFill>
                  <a:srgbClr val="FF0000"/>
                </a:solidFill>
              </a:rPr>
              <a:t>at office)</a:t>
            </a:r>
            <a:endParaRPr lang="en-US" sz="3300" b="1" dirty="0">
              <a:solidFill>
                <a:srgbClr val="FF0000"/>
              </a:solidFill>
            </a:endParaRPr>
          </a:p>
        </p:txBody>
      </p:sp>
      <p:pic>
        <p:nvPicPr>
          <p:cNvPr id="5122" name="Picture 2" descr="Image result for apps avoid sedentar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04" y="2343399"/>
            <a:ext cx="1243013" cy="2214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Image result for walking read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3592" y="4358601"/>
            <a:ext cx="1700213" cy="1514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/>
        </p:nvCxnSpPr>
        <p:spPr>
          <a:xfrm flipV="1">
            <a:off x="4074928" y="1790257"/>
            <a:ext cx="5069072" cy="7975"/>
          </a:xfrm>
          <a:prstGeom prst="line">
            <a:avLst/>
          </a:prstGeom>
          <a:ln w="762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/>
          <p:cNvSpPr txBox="1">
            <a:spLocks/>
          </p:cNvSpPr>
          <p:nvPr/>
        </p:nvSpPr>
        <p:spPr>
          <a:xfrm>
            <a:off x="628650" y="3236403"/>
            <a:ext cx="6757988" cy="1063561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2100" dirty="0"/>
              <a:t>Use the technology </a:t>
            </a:r>
            <a:br>
              <a:rPr lang="en-US" sz="2100" dirty="0"/>
            </a:br>
            <a:r>
              <a:rPr lang="en-US" sz="1500" dirty="0"/>
              <a:t>lots of apps on your phone/computer that will remind you 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628650" y="4169556"/>
            <a:ext cx="6757988" cy="132083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2100" dirty="0"/>
              <a:t>Standing when talking on the phone </a:t>
            </a:r>
          </a:p>
          <a:p>
            <a:pPr>
              <a:lnSpc>
                <a:spcPct val="150000"/>
              </a:lnSpc>
            </a:pPr>
            <a:r>
              <a:rPr lang="en-US" sz="2100" dirty="0"/>
              <a:t>Holding short and Stand-up meetings</a:t>
            </a:r>
          </a:p>
        </p:txBody>
      </p:sp>
    </p:spTree>
    <p:extLst>
      <p:ext uri="{BB962C8B-B14F-4D97-AF65-F5344CB8AC3E}">
        <p14:creationId xmlns:p14="http://schemas.microsoft.com/office/powerpoint/2010/main" val="3931783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8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altLang="en-US" sz="4000" dirty="0">
                <a:ea typeface="+mj-ea"/>
                <a:cs typeface="+mj-cs"/>
              </a:rPr>
              <a:t>AIDS Defined</a:t>
            </a:r>
            <a:endParaRPr lang="en-GB" sz="4000" dirty="0">
              <a:ea typeface="+mj-ea"/>
              <a:cs typeface="+mj-cs"/>
            </a:endParaRPr>
          </a:p>
        </p:txBody>
      </p:sp>
      <p:sp>
        <p:nvSpPr>
          <p:cNvPr id="154631" name="Oval 7"/>
          <p:cNvSpPr>
            <a:spLocks noChangeArrowheads="1"/>
          </p:cNvSpPr>
          <p:nvPr/>
        </p:nvSpPr>
        <p:spPr bwMode="blackWhite">
          <a:xfrm>
            <a:off x="812800" y="1676400"/>
            <a:ext cx="1016000" cy="914400"/>
          </a:xfrm>
          <a:prstGeom prst="ellipse">
            <a:avLst/>
          </a:prstGeom>
          <a:gradFill rotWithShape="0">
            <a:gsLst>
              <a:gs pos="0">
                <a:srgbClr val="FF9900"/>
              </a:gs>
              <a:gs pos="100000">
                <a:srgbClr val="FF3300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r>
              <a:rPr lang="en-GB" sz="6000" dirty="0">
                <a:latin typeface="Arial Black" pitchFamily="34" charset="0"/>
                <a:ea typeface="+mn-ea"/>
                <a:cs typeface="Arial" charset="0"/>
              </a:rPr>
              <a:t>A</a:t>
            </a:r>
          </a:p>
        </p:txBody>
      </p:sp>
      <p:sp>
        <p:nvSpPr>
          <p:cNvPr id="154632" name="Oval 8"/>
          <p:cNvSpPr>
            <a:spLocks noChangeArrowheads="1"/>
          </p:cNvSpPr>
          <p:nvPr/>
        </p:nvSpPr>
        <p:spPr bwMode="blackWhite">
          <a:xfrm>
            <a:off x="812800" y="2819400"/>
            <a:ext cx="812800" cy="914400"/>
          </a:xfrm>
          <a:prstGeom prst="ellipse">
            <a:avLst/>
          </a:prstGeom>
          <a:gradFill rotWithShape="0">
            <a:gsLst>
              <a:gs pos="0">
                <a:srgbClr val="FF9900"/>
              </a:gs>
              <a:gs pos="100000">
                <a:srgbClr val="FF3300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r>
              <a:rPr lang="en-GB" sz="6000">
                <a:latin typeface="Arial Black" pitchFamily="34" charset="0"/>
                <a:ea typeface="+mn-ea"/>
                <a:cs typeface="Arial" charset="0"/>
              </a:rPr>
              <a:t>I</a:t>
            </a:r>
          </a:p>
        </p:txBody>
      </p:sp>
      <p:sp>
        <p:nvSpPr>
          <p:cNvPr id="154633" name="Oval 9"/>
          <p:cNvSpPr>
            <a:spLocks noChangeArrowheads="1"/>
          </p:cNvSpPr>
          <p:nvPr/>
        </p:nvSpPr>
        <p:spPr bwMode="blackWhite">
          <a:xfrm>
            <a:off x="812800" y="3962400"/>
            <a:ext cx="812800" cy="914400"/>
          </a:xfrm>
          <a:prstGeom prst="ellipse">
            <a:avLst/>
          </a:prstGeom>
          <a:gradFill rotWithShape="0">
            <a:gsLst>
              <a:gs pos="0">
                <a:srgbClr val="FF9900"/>
              </a:gs>
              <a:gs pos="100000">
                <a:srgbClr val="FF3300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r>
              <a:rPr lang="en-GB" sz="6000">
                <a:latin typeface="Arial Black" pitchFamily="34" charset="0"/>
                <a:ea typeface="+mn-ea"/>
                <a:cs typeface="Arial" charset="0"/>
              </a:rPr>
              <a:t>D</a:t>
            </a:r>
          </a:p>
        </p:txBody>
      </p:sp>
      <p:sp>
        <p:nvSpPr>
          <p:cNvPr id="154634" name="Oval 10"/>
          <p:cNvSpPr>
            <a:spLocks noChangeArrowheads="1"/>
          </p:cNvSpPr>
          <p:nvPr/>
        </p:nvSpPr>
        <p:spPr bwMode="blackWhite">
          <a:xfrm>
            <a:off x="812800" y="5105400"/>
            <a:ext cx="812800" cy="914400"/>
          </a:xfrm>
          <a:prstGeom prst="ellipse">
            <a:avLst/>
          </a:prstGeom>
          <a:gradFill rotWithShape="0">
            <a:gsLst>
              <a:gs pos="0">
                <a:srgbClr val="FF9900"/>
              </a:gs>
              <a:gs pos="100000">
                <a:srgbClr val="FF3300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r>
              <a:rPr lang="en-GB" sz="6000">
                <a:latin typeface="Arial Black" pitchFamily="34" charset="0"/>
                <a:ea typeface="+mn-ea"/>
                <a:cs typeface="Arial" charset="0"/>
              </a:rPr>
              <a:t>S</a:t>
            </a:r>
          </a:p>
        </p:txBody>
      </p:sp>
      <p:sp>
        <p:nvSpPr>
          <p:cNvPr id="72712" name="Rectangle 11"/>
          <p:cNvSpPr>
            <a:spLocks noChangeArrowheads="1"/>
          </p:cNvSpPr>
          <p:nvPr/>
        </p:nvSpPr>
        <p:spPr bwMode="auto">
          <a:xfrm>
            <a:off x="1828800" y="1828800"/>
            <a:ext cx="7246938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>
              <a:lnSpc>
                <a:spcPct val="110000"/>
              </a:lnSpc>
              <a:spcBef>
                <a:spcPct val="50000"/>
              </a:spcBef>
              <a:buClr>
                <a:srgbClr val="FFFF00"/>
              </a:buClr>
              <a:buSzPct val="200000"/>
              <a:tabLst>
                <a:tab pos="915988" algn="l"/>
                <a:tab pos="2092325" algn="l"/>
                <a:tab pos="2484438" algn="l"/>
              </a:tabLst>
            </a:pPr>
            <a:r>
              <a:rPr lang="en-US" sz="2400"/>
              <a:t>=	Acquired	=	Get HIV from someone </a:t>
            </a:r>
            <a:br>
              <a:rPr lang="en-US" sz="2400"/>
            </a:br>
            <a:r>
              <a:rPr lang="en-US" sz="2400"/>
              <a:t>			who is infected </a:t>
            </a:r>
          </a:p>
          <a:p>
            <a:pPr marL="342900" indent="-342900">
              <a:lnSpc>
                <a:spcPct val="110000"/>
              </a:lnSpc>
              <a:spcBef>
                <a:spcPct val="50000"/>
              </a:spcBef>
              <a:buClr>
                <a:srgbClr val="FFFF00"/>
              </a:buClr>
              <a:buSzPct val="200000"/>
              <a:tabLst>
                <a:tab pos="915988" algn="l"/>
                <a:tab pos="2092325" algn="l"/>
                <a:tab pos="2484438" algn="l"/>
              </a:tabLst>
            </a:pPr>
            <a:r>
              <a:rPr lang="en-US" sz="2400"/>
              <a:t>=	Immune	=	The body’s defense system which 			protects the body from disease</a:t>
            </a:r>
          </a:p>
          <a:p>
            <a:pPr marL="342900" indent="-342900">
              <a:lnSpc>
                <a:spcPct val="110000"/>
              </a:lnSpc>
              <a:spcBef>
                <a:spcPct val="50000"/>
              </a:spcBef>
              <a:buClr>
                <a:srgbClr val="FFFF00"/>
              </a:buClr>
              <a:buSzPct val="200000"/>
              <a:tabLst>
                <a:tab pos="915988" algn="l"/>
                <a:tab pos="2092325" algn="l"/>
                <a:tab pos="2484438" algn="l"/>
              </a:tabLst>
            </a:pPr>
            <a:r>
              <a:rPr lang="en-US" sz="2400"/>
              <a:t>=	Deficiency	=	Not having enough </a:t>
            </a:r>
            <a:br>
              <a:rPr lang="en-US" sz="2400"/>
            </a:br>
            <a:r>
              <a:rPr lang="en-US" sz="2400"/>
              <a:t>			of something</a:t>
            </a:r>
          </a:p>
          <a:p>
            <a:pPr marL="342900" indent="-342900">
              <a:lnSpc>
                <a:spcPct val="110000"/>
              </a:lnSpc>
              <a:spcBef>
                <a:spcPct val="50000"/>
              </a:spcBef>
              <a:buClr>
                <a:srgbClr val="FFFF00"/>
              </a:buClr>
              <a:buSzPct val="200000"/>
              <a:tabLst>
                <a:tab pos="915988" algn="l"/>
                <a:tab pos="2092325" algn="l"/>
                <a:tab pos="2484438" algn="l"/>
              </a:tabLst>
            </a:pPr>
            <a:r>
              <a:rPr lang="en-US" sz="2400"/>
              <a:t>=	Syndrome	=	A group of symptoms associated 			with a particular diseas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F42F42A-230A-994A-B825-AEC3F6B8208E}"/>
              </a:ext>
            </a:extLst>
          </p:cNvPr>
          <p:cNvCxnSpPr/>
          <p:nvPr/>
        </p:nvCxnSpPr>
        <p:spPr>
          <a:xfrm>
            <a:off x="1743075" y="1417638"/>
            <a:ext cx="7400925" cy="0"/>
          </a:xfrm>
          <a:prstGeom prst="line">
            <a:avLst/>
          </a:prstGeom>
          <a:ln w="57150"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93508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FF0000"/>
                </a:solidFill>
              </a:rPr>
              <a:t>Bureaucracy ( their thoughts) </a:t>
            </a:r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4006606" y="1854053"/>
            <a:ext cx="5137394" cy="0"/>
          </a:xfrm>
          <a:prstGeom prst="line">
            <a:avLst/>
          </a:prstGeom>
          <a:ln w="762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0" y="5361089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Résultat de recherche d'images pour &quot;“Bureaucracy is the death of all sound work”&quot;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99" t="81204" r="24923" b="-3759"/>
          <a:stretch/>
        </p:blipFill>
        <p:spPr bwMode="auto">
          <a:xfrm>
            <a:off x="6886406" y="3904032"/>
            <a:ext cx="1408123" cy="438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Image associé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80" t="3460" r="43422" b="86547"/>
          <a:stretch/>
        </p:blipFill>
        <p:spPr bwMode="auto">
          <a:xfrm>
            <a:off x="1055755" y="3904032"/>
            <a:ext cx="783191" cy="285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Image associé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87" t="14753" r="7640" b="14742"/>
          <a:stretch/>
        </p:blipFill>
        <p:spPr bwMode="auto">
          <a:xfrm>
            <a:off x="2686389" y="3182246"/>
            <a:ext cx="3210545" cy="2014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Résultat de recherche d'images pour &quot;karl marx&quot;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52" y="2213924"/>
            <a:ext cx="2464199" cy="1642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Résultat de recherche d'images pour &quot;albert einstein&quot;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7033" y="2001652"/>
            <a:ext cx="1839269" cy="1839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Résultat de recherche d'images pour &quot;“Bureaucracy is the death of all sound work”&quot;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694"/>
          <a:stretch/>
        </p:blipFill>
        <p:spPr bwMode="auto">
          <a:xfrm>
            <a:off x="6161717" y="4306685"/>
            <a:ext cx="2857500" cy="783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2412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2" y="20614"/>
            <a:ext cx="8467725" cy="838200"/>
          </a:xfrm>
        </p:spPr>
        <p:txBody>
          <a:bodyPr/>
          <a:lstStyle/>
          <a:p>
            <a:r>
              <a:rPr lang="en-US" sz="3600" b="1" dirty="0"/>
              <a:t> </a:t>
            </a:r>
            <a:r>
              <a:rPr lang="en-US" sz="4000" b="1" dirty="0">
                <a:solidFill>
                  <a:schemeClr val="accent1"/>
                </a:solidFill>
              </a:rPr>
              <a:t>HIV Natural History</a:t>
            </a:r>
            <a:endParaRPr lang="en-US" sz="3600" b="1" dirty="0">
              <a:solidFill>
                <a:schemeClr val="accent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1066801"/>
            <a:ext cx="8686800" cy="558676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6553200" y="6553200"/>
            <a:ext cx="1981200" cy="762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Geneva" charset="0"/>
              </a:rPr>
              <a:t>Source : Wikipedia</a:t>
            </a:r>
            <a:r>
              <a:rPr kumimoji="0" lang="en-US" sz="1400" b="1" i="0" u="none" strike="noStrike" cap="none" normalizeH="0" dirty="0">
                <a:ln>
                  <a:noFill/>
                </a:ln>
                <a:solidFill>
                  <a:srgbClr val="FFFFFF"/>
                </a:solidFill>
                <a:effectLst/>
                <a:latin typeface="Geneva" charset="0"/>
              </a:rPr>
              <a:t> </a:t>
            </a:r>
            <a:endParaRPr kumimoji="0" lang="en-US" sz="14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Genev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41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14300"/>
            <a:ext cx="8229600" cy="762000"/>
          </a:xfrm>
        </p:spPr>
        <p:txBody>
          <a:bodyPr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fr-FR" b="1" dirty="0">
                <a:solidFill>
                  <a:schemeClr val="accent1"/>
                </a:solidFill>
                <a:ea typeface="+mj-ea"/>
              </a:rPr>
              <a:t>HISTORY</a:t>
            </a:r>
            <a:br>
              <a:rPr lang="fr-FR" sz="2800" dirty="0">
                <a:solidFill>
                  <a:srgbClr val="FFFA23"/>
                </a:solidFill>
                <a:ea typeface="+mj-ea"/>
              </a:rPr>
            </a:br>
            <a:endParaRPr lang="en-US" sz="2800" dirty="0">
              <a:solidFill>
                <a:srgbClr val="FFFA23"/>
              </a:solidFill>
              <a:ea typeface="+mj-ea"/>
            </a:endParaRPr>
          </a:p>
        </p:txBody>
      </p:sp>
      <p:sp>
        <p:nvSpPr>
          <p:cNvPr id="156675" name="Rectangle 3"/>
          <p:cNvSpPr>
            <a:spLocks noGrp="1" noChangeArrowheads="1"/>
          </p:cNvSpPr>
          <p:nvPr>
            <p:ph sz="quarter" idx="1"/>
          </p:nvPr>
        </p:nvSpPr>
        <p:spPr>
          <a:xfrm>
            <a:off x="381000" y="228600"/>
            <a:ext cx="8591550" cy="6400800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80000"/>
              </a:lnSpc>
              <a:buClrTx/>
              <a:buNone/>
            </a:pPr>
            <a:endParaRPr lang="fr-FR" sz="2400" dirty="0">
              <a:latin typeface="Arial" charset="0"/>
            </a:endParaRPr>
          </a:p>
          <a:p>
            <a:pPr marL="273050" indent="-273050">
              <a:lnSpc>
                <a:spcPct val="80000"/>
              </a:lnSpc>
              <a:buClrTx/>
              <a:buFontTx/>
              <a:buBlip>
                <a:blip r:embed="rId2"/>
              </a:buBlip>
            </a:pPr>
            <a:endParaRPr lang="fr-FR" sz="2400" dirty="0">
              <a:latin typeface="Arial" charset="0"/>
            </a:endParaRPr>
          </a:p>
          <a:p>
            <a:pPr>
              <a:lnSpc>
                <a:spcPct val="8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r>
              <a:rPr lang="fr-FR" sz="2400" dirty="0">
                <a:latin typeface="Arial" charset="0"/>
              </a:rPr>
              <a:t>1981: </a:t>
            </a:r>
            <a:r>
              <a:rPr lang="fr-FR" sz="2200" dirty="0">
                <a:latin typeface="Arial" charset="0"/>
              </a:rPr>
              <a:t>1st case of AIDS - LOS ANGELES</a:t>
            </a:r>
          </a:p>
          <a:p>
            <a:pPr>
              <a:lnSpc>
                <a:spcPct val="8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endParaRPr lang="fr-FR" sz="2400" dirty="0">
              <a:latin typeface="Arial" charset="0"/>
            </a:endParaRPr>
          </a:p>
          <a:p>
            <a:pPr>
              <a:lnSpc>
                <a:spcPct val="8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endParaRPr lang="fr-FR" sz="2400" dirty="0">
              <a:solidFill>
                <a:srgbClr val="002060"/>
              </a:solidFill>
              <a:latin typeface="Arial" charset="0"/>
            </a:endParaRPr>
          </a:p>
          <a:p>
            <a:pPr>
              <a:lnSpc>
                <a:spcPct val="8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r>
              <a:rPr lang="fr-FR" sz="2400" dirty="0">
                <a:latin typeface="Arial" charset="0"/>
              </a:rPr>
              <a:t>1983-1984:1st description of  the virus (HTLV3) USA &amp; France</a:t>
            </a:r>
          </a:p>
          <a:p>
            <a:pPr>
              <a:lnSpc>
                <a:spcPct val="8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endParaRPr lang="fr-FR" sz="2400" dirty="0">
              <a:latin typeface="Arial" charset="0"/>
            </a:endParaRPr>
          </a:p>
          <a:p>
            <a:pPr>
              <a:lnSpc>
                <a:spcPct val="11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r>
              <a:rPr lang="fr-FR" sz="2400" dirty="0">
                <a:latin typeface="Arial" charset="0"/>
              </a:rPr>
              <a:t>1985:  1st tests /screening tests</a:t>
            </a:r>
          </a:p>
          <a:p>
            <a:pPr>
              <a:lnSpc>
                <a:spcPct val="11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endParaRPr lang="fr-FR" sz="2400" dirty="0">
              <a:latin typeface="Arial" charset="0"/>
            </a:endParaRPr>
          </a:p>
          <a:p>
            <a:pPr>
              <a:lnSpc>
                <a:spcPct val="11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r>
              <a:rPr lang="fr-FR" sz="2400" dirty="0">
                <a:latin typeface="Arial" charset="0"/>
              </a:rPr>
              <a:t>1987: 1st </a:t>
            </a:r>
            <a:r>
              <a:rPr lang="fr-FR" sz="2400" dirty="0" err="1">
                <a:latin typeface="Arial" charset="0"/>
              </a:rPr>
              <a:t>ARVs</a:t>
            </a:r>
            <a:r>
              <a:rPr lang="fr-FR" sz="2400" dirty="0">
                <a:latin typeface="Arial" charset="0"/>
              </a:rPr>
              <a:t> « AZT »</a:t>
            </a:r>
          </a:p>
          <a:p>
            <a:pPr>
              <a:lnSpc>
                <a:spcPct val="11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endParaRPr lang="fr-FR" sz="2400" dirty="0">
              <a:latin typeface="Arial" charset="0"/>
            </a:endParaRPr>
          </a:p>
          <a:p>
            <a:pPr>
              <a:lnSpc>
                <a:spcPct val="11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r>
              <a:rPr lang="fr-FR" sz="2400" dirty="0">
                <a:latin typeface="Arial" charset="0"/>
              </a:rPr>
              <a:t> 1995-96: Tri-</a:t>
            </a:r>
            <a:r>
              <a:rPr lang="fr-FR" sz="2400" dirty="0" err="1">
                <a:latin typeface="Arial" charset="0"/>
              </a:rPr>
              <a:t>therapy</a:t>
            </a:r>
            <a:r>
              <a:rPr lang="fr-FR" sz="2400" dirty="0">
                <a:latin typeface="Arial" charset="0"/>
              </a:rPr>
              <a:t> (HAART) in High </a:t>
            </a:r>
            <a:r>
              <a:rPr lang="fr-FR" sz="2400" dirty="0" err="1">
                <a:latin typeface="Arial" charset="0"/>
              </a:rPr>
              <a:t>Income</a:t>
            </a:r>
            <a:r>
              <a:rPr lang="fr-FR" sz="2400" dirty="0">
                <a:latin typeface="Arial" charset="0"/>
              </a:rPr>
              <a:t> countries</a:t>
            </a:r>
          </a:p>
          <a:p>
            <a:pPr>
              <a:lnSpc>
                <a:spcPct val="11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endParaRPr lang="fr-FR" sz="2400" dirty="0">
              <a:latin typeface="Arial" charset="0"/>
            </a:endParaRPr>
          </a:p>
          <a:p>
            <a:pPr>
              <a:lnSpc>
                <a:spcPct val="11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r>
              <a:rPr lang="fr-FR" sz="2400" dirty="0">
                <a:latin typeface="Arial" charset="0"/>
              </a:rPr>
              <a:t>End 1999: Access to </a:t>
            </a:r>
            <a:r>
              <a:rPr lang="fr-FR" sz="2400" dirty="0" err="1">
                <a:latin typeface="Arial" charset="0"/>
              </a:rPr>
              <a:t>ARVs</a:t>
            </a:r>
            <a:r>
              <a:rPr lang="fr-FR" sz="2400" dirty="0">
                <a:latin typeface="Arial" charset="0"/>
              </a:rPr>
              <a:t> in RWANDA &amp; SS </a:t>
            </a:r>
            <a:r>
              <a:rPr lang="fr-FR" sz="2400" dirty="0" err="1">
                <a:latin typeface="Arial" charset="0"/>
              </a:rPr>
              <a:t>Africa</a:t>
            </a:r>
            <a:r>
              <a:rPr lang="fr-FR" sz="2400" dirty="0">
                <a:latin typeface="Arial" charset="0"/>
              </a:rPr>
              <a:t>  </a:t>
            </a:r>
          </a:p>
          <a:p>
            <a:pPr>
              <a:lnSpc>
                <a:spcPct val="11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endParaRPr lang="fr-FR" sz="2400" dirty="0">
              <a:latin typeface="Arial" charset="0"/>
            </a:endParaRPr>
          </a:p>
          <a:p>
            <a:pPr>
              <a:lnSpc>
                <a:spcPct val="110000"/>
              </a:lnSpc>
              <a:buClr>
                <a:srgbClr val="00B050"/>
              </a:buClr>
              <a:buFont typeface="Courier New" panose="02070309020205020404" pitchFamily="49" charset="0"/>
              <a:buChar char="o"/>
            </a:pPr>
            <a:r>
              <a:rPr lang="fr-FR" sz="2400" dirty="0">
                <a:latin typeface="Arial" charset="0"/>
              </a:rPr>
              <a:t>2002-2003 :Rapid </a:t>
            </a:r>
            <a:r>
              <a:rPr lang="fr-FR" sz="2400" dirty="0" err="1">
                <a:latin typeface="Arial" charset="0"/>
              </a:rPr>
              <a:t>scale</a:t>
            </a:r>
            <a:r>
              <a:rPr lang="fr-FR" sz="2400" dirty="0">
                <a:latin typeface="Arial" charset="0"/>
              </a:rPr>
              <a:t> up of HIV services in SSA </a:t>
            </a:r>
            <a:br>
              <a:rPr lang="fr-FR" sz="2400" dirty="0">
                <a:latin typeface="Arial" charset="0"/>
              </a:rPr>
            </a:br>
            <a:r>
              <a:rPr lang="fr-FR" sz="2400" dirty="0">
                <a:latin typeface="Arial" charset="0"/>
              </a:rPr>
              <a:t>                    </a:t>
            </a:r>
            <a:r>
              <a:rPr lang="fr-FR" sz="600" dirty="0">
                <a:latin typeface="Arial" charset="0"/>
              </a:rPr>
              <a:t>  </a:t>
            </a:r>
            <a:endParaRPr lang="en-US" sz="700" dirty="0">
              <a:latin typeface="Arial" charset="0"/>
            </a:endParaRPr>
          </a:p>
          <a:p>
            <a:pPr marL="273050" indent="-273050">
              <a:lnSpc>
                <a:spcPct val="80000"/>
              </a:lnSpc>
              <a:spcBef>
                <a:spcPts val="575"/>
              </a:spcBef>
              <a:buFont typeface="Wingdings 2" charset="0"/>
              <a:buChar char=""/>
            </a:pPr>
            <a:endParaRPr lang="en-US" sz="700" dirty="0">
              <a:latin typeface="Arial" charset="0"/>
            </a:endParaRPr>
          </a:p>
        </p:txBody>
      </p:sp>
      <p:sp>
        <p:nvSpPr>
          <p:cNvPr id="2" name="Smiley Face 1"/>
          <p:cNvSpPr/>
          <p:nvPr/>
        </p:nvSpPr>
        <p:spPr bwMode="auto">
          <a:xfrm>
            <a:off x="171450" y="6172200"/>
            <a:ext cx="762000" cy="685800"/>
          </a:xfrm>
          <a:prstGeom prst="smileyFac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normalizeH="0" baseline="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Geneva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1143000" y="6248400"/>
            <a:ext cx="7829550" cy="55245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latin typeface="Geneva" charset="0"/>
              </a:rPr>
              <a:t>HIV </a:t>
            </a:r>
            <a:r>
              <a:rPr lang="en-US" sz="2000" b="1" dirty="0">
                <a:solidFill>
                  <a:schemeClr val="accent3">
                    <a:lumMod val="50000"/>
                  </a:schemeClr>
                </a:solidFill>
                <a:latin typeface="Geneva" charset="0"/>
              </a:rPr>
              <a:t>was </a:t>
            </a:r>
            <a:r>
              <a:rPr kumimoji="0" lang="en-US" sz="2000" b="1" i="0" u="none" strike="noStrike" cap="none" normalizeH="0" dirty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latin typeface="Geneva" charset="0"/>
              </a:rPr>
              <a:t>a death sentence =&gt;Today HIV is a chronic disease</a:t>
            </a: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latin typeface="Genev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4859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9EAE11-AEC9-4DBC-8170-F233087149D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592" y="1556792"/>
            <a:ext cx="7416824" cy="2913640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899595" y="4604576"/>
          <a:ext cx="7704855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8285">
                  <a:extLst>
                    <a:ext uri="{9D8B030D-6E8A-4147-A177-3AD203B41FA5}">
                      <a16:colId xmlns:a16="http://schemas.microsoft.com/office/drawing/2014/main" val="1331591903"/>
                    </a:ext>
                  </a:extLst>
                </a:gridCol>
                <a:gridCol w="2568285">
                  <a:extLst>
                    <a:ext uri="{9D8B030D-6E8A-4147-A177-3AD203B41FA5}">
                      <a16:colId xmlns:a16="http://schemas.microsoft.com/office/drawing/2014/main" val="3504046704"/>
                    </a:ext>
                  </a:extLst>
                </a:gridCol>
                <a:gridCol w="2568285">
                  <a:extLst>
                    <a:ext uri="{9D8B030D-6E8A-4147-A177-3AD203B41FA5}">
                      <a16:colId xmlns:a16="http://schemas.microsoft.com/office/drawing/2014/main" val="2701429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HTC Transform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ase finding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elf test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Linkag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2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reat</a:t>
                      </a:r>
                      <a:r>
                        <a:rPr lang="en-US" sz="20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all HIV+</a:t>
                      </a:r>
                      <a:endParaRPr lang="en-US" sz="2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Differentiated Service Delivery Model (DSDM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2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dherence suppor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Viral load monitor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ensitization</a:t>
                      </a:r>
                      <a:r>
                        <a:rPr lang="en-US" sz="20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towards no sigma and discrimination</a:t>
                      </a:r>
                      <a:endParaRPr lang="en-US" sz="2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0976863"/>
                  </a:ext>
                </a:extLst>
              </a:tr>
            </a:tbl>
          </a:graphicData>
        </a:graphic>
      </p:graphicFrame>
      <p:sp>
        <p:nvSpPr>
          <p:cNvPr id="11" name="Title 1"/>
          <p:cNvSpPr txBox="1">
            <a:spLocks/>
          </p:cNvSpPr>
          <p:nvPr/>
        </p:nvSpPr>
        <p:spPr bwMode="auto">
          <a:xfrm>
            <a:off x="395536" y="274638"/>
            <a:ext cx="8610600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altLang="en-US" sz="3200" b="1" kern="0" dirty="0">
                <a:solidFill>
                  <a:srgbClr val="000099"/>
                </a:solidFill>
              </a:rPr>
              <a:t>Program Priorities to Achieve Targets</a:t>
            </a:r>
          </a:p>
        </p:txBody>
      </p:sp>
    </p:spTree>
    <p:extLst>
      <p:ext uri="{BB962C8B-B14F-4D97-AF65-F5344CB8AC3E}">
        <p14:creationId xmlns:p14="http://schemas.microsoft.com/office/powerpoint/2010/main" val="23964098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2140149"/>
              </p:ext>
            </p:extLst>
          </p:nvPr>
        </p:nvGraphicFramePr>
        <p:xfrm>
          <a:off x="214314" y="1500188"/>
          <a:ext cx="8003256" cy="4181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/>
          <p:cNvSpPr/>
          <p:nvPr/>
        </p:nvSpPr>
        <p:spPr>
          <a:xfrm>
            <a:off x="214315" y="611336"/>
            <a:ext cx="82920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280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CA" sz="3200" b="1" dirty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New </a:t>
            </a:r>
            <a:r>
              <a:rPr lang="en-CA" sz="32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HIV infections </a:t>
            </a:r>
            <a:r>
              <a:rPr lang="en-CA" sz="3200" b="1" dirty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and HIV deaths over-time</a:t>
            </a:r>
          </a:p>
        </p:txBody>
      </p:sp>
      <p:sp>
        <p:nvSpPr>
          <p:cNvPr id="4" name="Oval 3"/>
          <p:cNvSpPr/>
          <p:nvPr/>
        </p:nvSpPr>
        <p:spPr>
          <a:xfrm>
            <a:off x="6712772" y="4431478"/>
            <a:ext cx="806824" cy="621254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D09410-C82D-466A-AFE9-504AB8E56AB4}"/>
              </a:ext>
            </a:extLst>
          </p:cNvPr>
          <p:cNvSpPr txBox="1"/>
          <p:nvPr/>
        </p:nvSpPr>
        <p:spPr>
          <a:xfrm>
            <a:off x="6253470" y="5934670"/>
            <a:ext cx="28905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1" dirty="0"/>
              <a:t>2019 Spectrum Model for 2018</a:t>
            </a:r>
          </a:p>
          <a:p>
            <a:r>
              <a:rPr lang="en-US" sz="1350" dirty="0"/>
              <a:t>	4,511 new infections</a:t>
            </a:r>
          </a:p>
          <a:p>
            <a:r>
              <a:rPr lang="en-US" sz="1350" dirty="0"/>
              <a:t>	4,245 total deaths among PLHIV</a:t>
            </a:r>
          </a:p>
          <a:p>
            <a:r>
              <a:rPr lang="en-US" sz="1350" dirty="0"/>
              <a:t>	(2,997 HIV-related deaths)</a:t>
            </a:r>
          </a:p>
        </p:txBody>
      </p:sp>
    </p:spTree>
    <p:extLst>
      <p:ext uri="{BB962C8B-B14F-4D97-AF65-F5344CB8AC3E}">
        <p14:creationId xmlns:p14="http://schemas.microsoft.com/office/powerpoint/2010/main" val="36467113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extBox 76"/>
          <p:cNvSpPr txBox="1"/>
          <p:nvPr/>
        </p:nvSpPr>
        <p:spPr>
          <a:xfrm>
            <a:off x="4427877" y="5677590"/>
            <a:ext cx="732571" cy="2512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03"/>
            <a:r>
              <a:rPr lang="en-GB" sz="800" dirty="0">
                <a:solidFill>
                  <a:srgbClr val="E7E6E6"/>
                </a:solidFill>
                <a:latin typeface="Georgia" pitchFamily="18" charset="0"/>
              </a:rPr>
              <a:t>Unleashing potential</a:t>
            </a:r>
          </a:p>
        </p:txBody>
      </p:sp>
      <p:grpSp>
        <p:nvGrpSpPr>
          <p:cNvPr id="97" name="Group 96"/>
          <p:cNvGrpSpPr>
            <a:grpSpLocks noChangeAspect="1"/>
          </p:cNvGrpSpPr>
          <p:nvPr/>
        </p:nvGrpSpPr>
        <p:grpSpPr>
          <a:xfrm>
            <a:off x="1340633" y="1193096"/>
            <a:ext cx="6139602" cy="5636089"/>
            <a:chOff x="1496105" y="836712"/>
            <a:chExt cx="5896878" cy="5413271"/>
          </a:xfrm>
        </p:grpSpPr>
        <p:sp>
          <p:nvSpPr>
            <p:cNvPr id="53" name="Oval 52"/>
            <p:cNvSpPr/>
            <p:nvPr/>
          </p:nvSpPr>
          <p:spPr bwMode="ltGray">
            <a:xfrm>
              <a:off x="1979712" y="836712"/>
              <a:ext cx="5413271" cy="5413271"/>
            </a:xfrm>
            <a:prstGeom prst="ellipse">
              <a:avLst/>
            </a:pr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endParaRPr lang="en-GB" dirty="0">
                <a:solidFill>
                  <a:prstClr val="white"/>
                </a:solidFill>
                <a:latin typeface="Georgia" pitchFamily="18" charset="0"/>
              </a:endParaRPr>
            </a:p>
          </p:txBody>
        </p:sp>
        <p:sp>
          <p:nvSpPr>
            <p:cNvPr id="56" name="Oval 55"/>
            <p:cNvSpPr>
              <a:spLocks noChangeAspect="1"/>
            </p:cNvSpPr>
            <p:nvPr/>
          </p:nvSpPr>
          <p:spPr bwMode="ltGray">
            <a:xfrm>
              <a:off x="1496105" y="2002567"/>
              <a:ext cx="1012328" cy="1012328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endParaRPr lang="en-GB" dirty="0">
                <a:solidFill>
                  <a:prstClr val="white"/>
                </a:solidFill>
                <a:latin typeface="Georgia" pitchFamily="18" charset="0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2092166" y="1514262"/>
            <a:ext cx="5109159" cy="4951883"/>
            <a:chOff x="1342038" y="1124744"/>
            <a:chExt cx="5596809" cy="5424523"/>
          </a:xfrm>
        </p:grpSpPr>
        <p:grpSp>
          <p:nvGrpSpPr>
            <p:cNvPr id="96" name="Group 95"/>
            <p:cNvGrpSpPr>
              <a:grpSpLocks noChangeAspect="1"/>
            </p:cNvGrpSpPr>
            <p:nvPr/>
          </p:nvGrpSpPr>
          <p:grpSpPr>
            <a:xfrm>
              <a:off x="1342038" y="1124744"/>
              <a:ext cx="5596809" cy="5424523"/>
              <a:chOff x="2932748" y="1837079"/>
              <a:chExt cx="3519410" cy="3411072"/>
            </a:xfrm>
          </p:grpSpPr>
          <p:grpSp>
            <p:nvGrpSpPr>
              <p:cNvPr id="50" name="Group 7"/>
              <p:cNvGrpSpPr>
                <a:grpSpLocks noChangeAspect="1"/>
              </p:cNvGrpSpPr>
              <p:nvPr/>
            </p:nvGrpSpPr>
            <p:grpSpPr bwMode="auto">
              <a:xfrm rot="18320310">
                <a:off x="3891018" y="2692145"/>
                <a:ext cx="1604837" cy="1634073"/>
                <a:chOff x="654" y="1280"/>
                <a:chExt cx="1029" cy="1052"/>
              </a:xfrm>
            </p:grpSpPr>
            <p:sp>
              <p:nvSpPr>
                <p:cNvPr id="51" name="Freeform 8"/>
                <p:cNvSpPr>
                  <a:spLocks/>
                </p:cNvSpPr>
                <p:nvPr/>
              </p:nvSpPr>
              <p:spPr bwMode="auto">
                <a:xfrm>
                  <a:off x="1161" y="1282"/>
                  <a:ext cx="522" cy="1050"/>
                </a:xfrm>
                <a:custGeom>
                  <a:avLst/>
                  <a:gdLst/>
                  <a:ahLst/>
                  <a:cxnLst>
                    <a:cxn ang="0">
                      <a:pos x="0" y="2800"/>
                    </a:cxn>
                    <a:cxn ang="0">
                      <a:pos x="1392" y="140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400"/>
                    </a:cxn>
                    <a:cxn ang="0">
                      <a:pos x="0" y="2800"/>
                    </a:cxn>
                  </a:cxnLst>
                  <a:rect l="0" t="0" r="r" b="b"/>
                  <a:pathLst>
                    <a:path w="1392" h="2800">
                      <a:moveTo>
                        <a:pt x="0" y="2800"/>
                      </a:moveTo>
                      <a:cubicBezTo>
                        <a:pt x="769" y="2800"/>
                        <a:pt x="1392" y="2174"/>
                        <a:pt x="1392" y="1400"/>
                      </a:cubicBezTo>
                      <a:cubicBezTo>
                        <a:pt x="1392" y="627"/>
                        <a:pt x="769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1400"/>
                      </a:lnTo>
                      <a:lnTo>
                        <a:pt x="0" y="2800"/>
                      </a:lnTo>
                      <a:close/>
                    </a:path>
                  </a:pathLst>
                </a:custGeom>
                <a:solidFill>
                  <a:srgbClr val="0000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34" tIns="45717" rIns="91434" bIns="4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303"/>
                  <a:endParaRPr lang="en-GB" dirty="0">
                    <a:solidFill>
                      <a:prstClr val="black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52" name="Freeform 9"/>
                <p:cNvSpPr>
                  <a:spLocks/>
                </p:cNvSpPr>
                <p:nvPr/>
              </p:nvSpPr>
              <p:spPr bwMode="auto">
                <a:xfrm>
                  <a:off x="654" y="1280"/>
                  <a:ext cx="522" cy="1050"/>
                </a:xfrm>
                <a:custGeom>
                  <a:avLst/>
                  <a:gdLst/>
                  <a:ahLst/>
                  <a:cxnLst>
                    <a:cxn ang="0">
                      <a:pos x="1392" y="0"/>
                    </a:cxn>
                    <a:cxn ang="0">
                      <a:pos x="0" y="1400"/>
                    </a:cxn>
                    <a:cxn ang="0">
                      <a:pos x="1392" y="2800"/>
                    </a:cxn>
                    <a:cxn ang="0">
                      <a:pos x="1392" y="1400"/>
                    </a:cxn>
                    <a:cxn ang="0">
                      <a:pos x="1392" y="0"/>
                    </a:cxn>
                  </a:cxnLst>
                  <a:rect l="0" t="0" r="r" b="b"/>
                  <a:pathLst>
                    <a:path w="1392" h="2800">
                      <a:moveTo>
                        <a:pt x="1392" y="0"/>
                      </a:moveTo>
                      <a:cubicBezTo>
                        <a:pt x="624" y="0"/>
                        <a:pt x="0" y="627"/>
                        <a:pt x="0" y="1400"/>
                      </a:cubicBezTo>
                      <a:cubicBezTo>
                        <a:pt x="0" y="2174"/>
                        <a:pt x="624" y="2800"/>
                        <a:pt x="1392" y="2800"/>
                      </a:cubicBezTo>
                      <a:lnTo>
                        <a:pt x="1392" y="1400"/>
                      </a:lnTo>
                      <a:lnTo>
                        <a:pt x="1392" y="0"/>
                      </a:lnTo>
                      <a:close/>
                    </a:path>
                  </a:pathLst>
                </a:custGeom>
                <a:solidFill>
                  <a:srgbClr val="0000F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34" tIns="45717" rIns="91434" bIns="45717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914303"/>
                  <a:endParaRPr lang="en-GB" dirty="0">
                    <a:solidFill>
                      <a:prstClr val="black"/>
                    </a:solidFill>
                    <a:latin typeface="Georgia" pitchFamily="18" charset="0"/>
                  </a:endParaRPr>
                </a:p>
              </p:txBody>
            </p:sp>
          </p:grpSp>
          <p:sp>
            <p:nvSpPr>
              <p:cNvPr id="55" name="Oval 54"/>
              <p:cNvSpPr/>
              <p:nvPr/>
            </p:nvSpPr>
            <p:spPr bwMode="ltGray">
              <a:xfrm>
                <a:off x="3291177" y="2148177"/>
                <a:ext cx="2790342" cy="2790342"/>
              </a:xfrm>
              <a:prstGeom prst="ellipse">
                <a:avLst/>
              </a:prstGeom>
              <a:noFill/>
              <a:ln w="381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62" name="Oval 61"/>
              <p:cNvSpPr/>
              <p:nvPr/>
            </p:nvSpPr>
            <p:spPr bwMode="ltGray">
              <a:xfrm>
                <a:off x="2932748" y="3177919"/>
                <a:ext cx="720000" cy="720000"/>
              </a:xfrm>
              <a:prstGeom prst="ellips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 bwMode="ltGray">
              <a:xfrm>
                <a:off x="3182730" y="4019552"/>
                <a:ext cx="720000" cy="720000"/>
              </a:xfrm>
              <a:prstGeom prst="ellipse">
                <a:avLst/>
              </a:prstGeom>
              <a:solidFill>
                <a:schemeClr val="accent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64" name="Oval 63"/>
              <p:cNvSpPr/>
              <p:nvPr/>
            </p:nvSpPr>
            <p:spPr bwMode="ltGray">
              <a:xfrm>
                <a:off x="3873809" y="4528151"/>
                <a:ext cx="720000" cy="720000"/>
              </a:xfrm>
              <a:prstGeom prst="ellipse">
                <a:avLst/>
              </a:prstGeom>
              <a:solidFill>
                <a:srgbClr val="7030A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65" name="Oval 64"/>
              <p:cNvSpPr/>
              <p:nvPr/>
            </p:nvSpPr>
            <p:spPr bwMode="ltGray">
              <a:xfrm>
                <a:off x="4772693" y="4528150"/>
                <a:ext cx="720000" cy="720000"/>
              </a:xfrm>
              <a:prstGeom prst="ellipse">
                <a:avLst/>
              </a:prstGeom>
              <a:solidFill>
                <a:schemeClr val="accent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66" name="Oval 65"/>
              <p:cNvSpPr/>
              <p:nvPr/>
            </p:nvSpPr>
            <p:spPr bwMode="ltGray">
              <a:xfrm>
                <a:off x="5473107" y="4036637"/>
                <a:ext cx="720000" cy="720000"/>
              </a:xfrm>
              <a:prstGeom prst="ellipse">
                <a:avLst/>
              </a:prstGeom>
              <a:solidFill>
                <a:srgbClr val="92D05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67" name="Oval 66"/>
              <p:cNvSpPr/>
              <p:nvPr/>
            </p:nvSpPr>
            <p:spPr bwMode="ltGray">
              <a:xfrm>
                <a:off x="5732158" y="3212091"/>
                <a:ext cx="720000" cy="720000"/>
              </a:xfrm>
              <a:prstGeom prst="ellipse">
                <a:avLst/>
              </a:pr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68" name="Oval 67"/>
              <p:cNvSpPr/>
              <p:nvPr/>
            </p:nvSpPr>
            <p:spPr bwMode="ltGray">
              <a:xfrm>
                <a:off x="5481154" y="2376207"/>
                <a:ext cx="720000" cy="720000"/>
              </a:xfrm>
              <a:prstGeom prst="ellipse">
                <a:avLst/>
              </a:prstGeom>
              <a:solidFill>
                <a:schemeClr val="accent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 bwMode="ltGray">
              <a:xfrm>
                <a:off x="4772693" y="1873354"/>
                <a:ext cx="720000" cy="720000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 bwMode="ltGray">
              <a:xfrm>
                <a:off x="3925992" y="1837079"/>
                <a:ext cx="720000" cy="720000"/>
              </a:xfrm>
              <a:prstGeom prst="ellipse">
                <a:avLst/>
              </a:prstGeom>
              <a:solidFill>
                <a:srgbClr val="0070C0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71" name="Oval 70"/>
              <p:cNvSpPr/>
              <p:nvPr/>
            </p:nvSpPr>
            <p:spPr bwMode="ltGray">
              <a:xfrm>
                <a:off x="3214873" y="2364783"/>
                <a:ext cx="720000" cy="720000"/>
              </a:xfrm>
              <a:prstGeom prst="ellipse">
                <a:avLst/>
              </a:prstGeom>
              <a:solidFill>
                <a:schemeClr val="accent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dirty="0">
                  <a:solidFill>
                    <a:prstClr val="white"/>
                  </a:solidFill>
                  <a:latin typeface="Georgia" pitchFamily="18" charset="0"/>
                </a:endParaRPr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4000197" y="2095628"/>
                <a:ext cx="561494" cy="16223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914303"/>
                <a:r>
                  <a:rPr lang="en-GB" sz="1500" b="1" dirty="0">
                    <a:solidFill>
                      <a:srgbClr val="E7E6E6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RT</a:t>
                </a:r>
              </a:p>
            </p:txBody>
          </p:sp>
          <p:sp>
            <p:nvSpPr>
              <p:cNvPr id="95" name="TextBox 94"/>
              <p:cNvSpPr txBox="1"/>
              <p:nvPr/>
            </p:nvSpPr>
            <p:spPr>
              <a:xfrm>
                <a:off x="4182024" y="3199471"/>
                <a:ext cx="1031206" cy="64894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914303"/>
                <a:r>
                  <a:rPr lang="en-GB" sz="2000" b="1" dirty="0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wanda </a:t>
                </a:r>
              </a:p>
              <a:p>
                <a:pPr algn="ctr" defTabSz="914303"/>
                <a:r>
                  <a:rPr lang="en-GB" sz="2000" b="1" dirty="0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IV Response</a:t>
                </a:r>
              </a:p>
            </p:txBody>
          </p:sp>
        </p:grpSp>
        <p:sp>
          <p:nvSpPr>
            <p:cNvPr id="98" name="TextBox 97"/>
            <p:cNvSpPr txBox="1"/>
            <p:nvPr/>
          </p:nvSpPr>
          <p:spPr>
            <a:xfrm>
              <a:off x="4418181" y="1527175"/>
              <a:ext cx="892927" cy="516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03"/>
              <a:r>
                <a:rPr lang="en-GB" sz="1500" b="1" dirty="0">
                  <a:solidFill>
                    <a:srgbClr val="E7E6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re &amp; Support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5530917" y="2310783"/>
              <a:ext cx="892927" cy="516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03"/>
              <a:r>
                <a:rPr lang="en-GB" sz="1500" b="1" dirty="0">
                  <a:solidFill>
                    <a:srgbClr val="E7E6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 Stigma</a:t>
              </a: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5935683" y="3728392"/>
              <a:ext cx="892927" cy="25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03"/>
              <a:r>
                <a:rPr lang="en-GB" sz="1500" b="1" dirty="0">
                  <a:solidFill>
                    <a:srgbClr val="E7E6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dom</a:t>
              </a: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5513784" y="4935488"/>
              <a:ext cx="892927" cy="516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03"/>
              <a:r>
                <a:rPr lang="en-GB" sz="15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st Service</a:t>
              </a: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4393473" y="5868144"/>
              <a:ext cx="892927" cy="25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03"/>
              <a:r>
                <a:rPr lang="en-GB" sz="1500" b="1" dirty="0">
                  <a:solidFill>
                    <a:srgbClr val="E7E6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EC/BCC</a:t>
              </a: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2949670" y="5875885"/>
              <a:ext cx="892927" cy="25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03"/>
              <a:r>
                <a:rPr lang="en-GB" sz="1500" b="1" dirty="0">
                  <a:solidFill>
                    <a:srgbClr val="E7E6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MTCT</a:t>
              </a: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1858419" y="4941168"/>
              <a:ext cx="892927" cy="516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03"/>
              <a:r>
                <a:rPr lang="en-GB" sz="1500" b="1" dirty="0">
                  <a:solidFill>
                    <a:srgbClr val="E7E6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lood Safety</a:t>
              </a: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1467713" y="3702224"/>
              <a:ext cx="892927" cy="25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303"/>
              <a:r>
                <a:rPr lang="en-GB" sz="15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MCC</a:t>
              </a: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1412207" y="2706717"/>
            <a:ext cx="892874" cy="4710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03"/>
            <a:r>
              <a:rPr lang="en-GB" sz="1500" b="1" dirty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y Pop.</a:t>
            </a:r>
          </a:p>
        </p:txBody>
      </p:sp>
      <p:sp>
        <p:nvSpPr>
          <p:cNvPr id="111" name="Oval 110"/>
          <p:cNvSpPr>
            <a:spLocks noChangeAspect="1"/>
          </p:cNvSpPr>
          <p:nvPr/>
        </p:nvSpPr>
        <p:spPr bwMode="ltGray">
          <a:xfrm>
            <a:off x="6921931" y="4447587"/>
            <a:ext cx="1053996" cy="1053996"/>
          </a:xfrm>
          <a:prstGeom prst="ellipse">
            <a:avLst/>
          </a:prstGeom>
          <a:solidFill>
            <a:schemeClr val="tx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3"/>
            <a:endParaRPr lang="en-GB" dirty="0">
              <a:solidFill>
                <a:prstClr val="white"/>
              </a:solidFill>
              <a:latin typeface="Georgia" pitchFamily="18" charset="0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7023001" y="4743766"/>
            <a:ext cx="892874" cy="4710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03"/>
            <a:r>
              <a:rPr lang="en-GB" sz="1500" b="1" dirty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 Pop.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2614881" y="2536334"/>
            <a:ext cx="815126" cy="4710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03"/>
            <a:r>
              <a:rPr lang="en-GB" sz="1500" b="1" dirty="0">
                <a:solidFill>
                  <a:srgbClr val="E7E6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. Coupl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70" y="0"/>
            <a:ext cx="9143461" cy="1110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/>
          </a:p>
        </p:txBody>
      </p:sp>
      <p:sp>
        <p:nvSpPr>
          <p:cNvPr id="38" name="TextBox 37"/>
          <p:cNvSpPr txBox="1"/>
          <p:nvPr/>
        </p:nvSpPr>
        <p:spPr>
          <a:xfrm>
            <a:off x="76152" y="162585"/>
            <a:ext cx="9312159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Response to HIV in Rwanda</a:t>
            </a:r>
          </a:p>
        </p:txBody>
      </p:sp>
    </p:spTree>
    <p:extLst>
      <p:ext uri="{BB962C8B-B14F-4D97-AF65-F5344CB8AC3E}">
        <p14:creationId xmlns:p14="http://schemas.microsoft.com/office/powerpoint/2010/main" val="3266139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/>
        </p:nvSpPr>
        <p:spPr>
          <a:xfrm>
            <a:off x="270" y="0"/>
            <a:ext cx="9143461" cy="111023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/>
          </a:p>
        </p:txBody>
      </p:sp>
      <p:sp>
        <p:nvSpPr>
          <p:cNvPr id="38" name="TextBox 37"/>
          <p:cNvSpPr txBox="1"/>
          <p:nvPr/>
        </p:nvSpPr>
        <p:spPr>
          <a:xfrm>
            <a:off x="76152" y="162585"/>
            <a:ext cx="9312159" cy="799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89" b="1" dirty="0">
                <a:solidFill>
                  <a:schemeClr val="bg1"/>
                </a:solidFill>
                <a:ea typeface="Arial Unicode MS"/>
                <a:cs typeface="Arial Unicode MS"/>
              </a:rPr>
              <a:t>HIV Prevention in Rwanda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010497" y="639197"/>
            <a:ext cx="2133234" cy="863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49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► HIV testing </a:t>
            </a:r>
            <a:endParaRPr lang="en-US" sz="2449" b="1" dirty="0">
              <a:solidFill>
                <a:srgbClr val="FF0000"/>
              </a:solidFill>
              <a:latin typeface="Constantia"/>
              <a:cs typeface="Constantia"/>
            </a:endParaRPr>
          </a:p>
        </p:txBody>
      </p:sp>
      <p:pic>
        <p:nvPicPr>
          <p:cNvPr id="41988" name="Picture 4" descr="Image result for hiv testi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87" r="33589" b="34117"/>
          <a:stretch/>
        </p:blipFill>
        <p:spPr bwMode="auto">
          <a:xfrm>
            <a:off x="143121" y="1586851"/>
            <a:ext cx="2438051" cy="2410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90" name="Picture 6" descr="Image result for hiv testi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09" b="34360"/>
          <a:stretch/>
        </p:blipFill>
        <p:spPr bwMode="auto">
          <a:xfrm>
            <a:off x="3418563" y="2019042"/>
            <a:ext cx="2455350" cy="2487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96" name="Picture 1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502" y="3760080"/>
            <a:ext cx="2325504" cy="1548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998" name="Picture 14" descr="Image result for rapid test HIV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2170" y="4261311"/>
            <a:ext cx="1680806" cy="1680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000" name="Picture 16" descr="Related imag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7811" y="4609226"/>
            <a:ext cx="2811184" cy="2104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2111572" y="6066505"/>
            <a:ext cx="2213122" cy="382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 eaLnBrk="1" hangingPunct="1">
              <a:defRPr/>
            </a:pPr>
            <a:r>
              <a:rPr lang="en-GB" altLang="en-US" sz="1837" dirty="0"/>
              <a:t>HIV Testing Service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6416841" y="4153646"/>
            <a:ext cx="2213122" cy="382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 eaLnBrk="1" hangingPunct="1">
              <a:defRPr/>
            </a:pPr>
            <a:r>
              <a:rPr lang="en-GB" altLang="en-US" sz="1837" dirty="0"/>
              <a:t>Oral HIV Self Testing</a:t>
            </a:r>
          </a:p>
        </p:txBody>
      </p:sp>
    </p:spTree>
    <p:extLst>
      <p:ext uri="{BB962C8B-B14F-4D97-AF65-F5344CB8AC3E}">
        <p14:creationId xmlns:p14="http://schemas.microsoft.com/office/powerpoint/2010/main" val="16975436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Ht4_M0f0SyItC6V4qN1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59</TotalTime>
  <Words>959</Words>
  <Application>Microsoft Macintosh PowerPoint</Application>
  <PresentationFormat>On-screen Show (4:3)</PresentationFormat>
  <Paragraphs>231</Paragraphs>
  <Slides>3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1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7" baseType="lpstr">
      <vt:lpstr>Arial Unicode MS</vt:lpstr>
      <vt:lpstr>ＭＳ Ｐゴシック</vt:lpstr>
      <vt:lpstr>ヒラギノ角ゴ Pro W3</vt:lpstr>
      <vt:lpstr>Aharoni</vt:lpstr>
      <vt:lpstr>Arial</vt:lpstr>
      <vt:lpstr>Arial Black</vt:lpstr>
      <vt:lpstr>Arial Bold</vt:lpstr>
      <vt:lpstr>Calibri</vt:lpstr>
      <vt:lpstr>Constantia</vt:lpstr>
      <vt:lpstr>Courier New</vt:lpstr>
      <vt:lpstr>Geneva</vt:lpstr>
      <vt:lpstr>Georgia</vt:lpstr>
      <vt:lpstr>Helvetica</vt:lpstr>
      <vt:lpstr>Times</vt:lpstr>
      <vt:lpstr>Wingdings</vt:lpstr>
      <vt:lpstr>Wingdings 2</vt:lpstr>
      <vt:lpstr>Office Theme</vt:lpstr>
      <vt:lpstr>PowerPoint Presentation</vt:lpstr>
      <vt:lpstr>AIDS is Caused by HIV</vt:lpstr>
      <vt:lpstr>AIDS Defined</vt:lpstr>
      <vt:lpstr> HIV Natural History</vt:lpstr>
      <vt:lpstr>HISTORY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heart of Prevention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ramework of the HIV response in Rwanda</vt:lpstr>
      <vt:lpstr>Impact  Mitigation: decrease stigma and discrimination</vt:lpstr>
      <vt:lpstr>HIV interventions at working places</vt:lpstr>
      <vt:lpstr>Sedentary Lifestyle (silent killer)</vt:lpstr>
      <vt:lpstr>Sedentary Lifestyle ( Definition) </vt:lpstr>
      <vt:lpstr>Sedentary Lifestyle (Consequences)</vt:lpstr>
      <vt:lpstr>PowerPoint Presentation</vt:lpstr>
      <vt:lpstr>PowerPoint Presentation</vt:lpstr>
      <vt:lpstr>PowerPoint Presentation</vt:lpstr>
      <vt:lpstr>Bureaucracy ( their thoughts) 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emera</dc:creator>
  <cp:lastModifiedBy>Microsoft Office User</cp:lastModifiedBy>
  <cp:revision>93</cp:revision>
  <dcterms:created xsi:type="dcterms:W3CDTF">2018-12-16T16:35:21Z</dcterms:created>
  <dcterms:modified xsi:type="dcterms:W3CDTF">2019-06-26T04:06:01Z</dcterms:modified>
</cp:coreProperties>
</file>